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rts/chart1.xml" ContentType="application/vnd.openxmlformats-officedocument.drawingml.chart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1.bin" ContentType="application/vnd.openxmlformats-officedocument.oleObject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notesSlides/notesSlide3.xml" ContentType="application/vnd.openxmlformats-officedocument.presentationml.notesSlide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78" r:id="rId2"/>
    <p:sldMasterId id="2147483786" r:id="rId3"/>
    <p:sldMasterId id="2147483813" r:id="rId4"/>
    <p:sldMasterId id="2147483803" r:id="rId5"/>
  </p:sldMasterIdLst>
  <p:notesMasterIdLst>
    <p:notesMasterId r:id="rId33"/>
  </p:notesMasterIdLst>
  <p:sldIdLst>
    <p:sldId id="289" r:id="rId6"/>
    <p:sldId id="351" r:id="rId7"/>
    <p:sldId id="337" r:id="rId8"/>
    <p:sldId id="367" r:id="rId9"/>
    <p:sldId id="369" r:id="rId10"/>
    <p:sldId id="366" r:id="rId11"/>
    <p:sldId id="362" r:id="rId12"/>
    <p:sldId id="365" r:id="rId13"/>
    <p:sldId id="368" r:id="rId14"/>
    <p:sldId id="370" r:id="rId15"/>
    <p:sldId id="348" r:id="rId16"/>
    <p:sldId id="361" r:id="rId17"/>
    <p:sldId id="336" r:id="rId18"/>
    <p:sldId id="349" r:id="rId19"/>
    <p:sldId id="347" r:id="rId20"/>
    <p:sldId id="341" r:id="rId21"/>
    <p:sldId id="342" r:id="rId22"/>
    <p:sldId id="360" r:id="rId23"/>
    <p:sldId id="345" r:id="rId24"/>
    <p:sldId id="350" r:id="rId25"/>
    <p:sldId id="352" r:id="rId26"/>
    <p:sldId id="354" r:id="rId27"/>
    <p:sldId id="353" r:id="rId28"/>
    <p:sldId id="356" r:id="rId29"/>
    <p:sldId id="340" r:id="rId30"/>
    <p:sldId id="344" r:id="rId31"/>
    <p:sldId id="282" r:id="rId32"/>
  </p:sldIdLst>
  <p:sldSz cx="9144000" cy="6858000" type="screen4x3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First" id="{65272CC4-0874-B74E-A547-006E346E7C77}">
          <p14:sldIdLst>
            <p14:sldId id="289"/>
          </p14:sldIdLst>
        </p14:section>
        <p14:section name="Agenda" id="{57649D7D-BA90-1740-B390-DD49218D3CB5}">
          <p14:sldIdLst>
            <p14:sldId id="351"/>
          </p14:sldIdLst>
        </p14:section>
        <p14:section name="Pre-graduation" id="{62E5A96A-2A3B-3D43-B5A3-21F2D0B9B79D}">
          <p14:sldIdLst>
            <p14:sldId id="337"/>
            <p14:sldId id="367"/>
            <p14:sldId id="369"/>
            <p14:sldId id="366"/>
            <p14:sldId id="362"/>
            <p14:sldId id="365"/>
            <p14:sldId id="368"/>
            <p14:sldId id="370"/>
          </p14:sldIdLst>
        </p14:section>
        <p14:section name="Post-graduation" id="{6CD781BC-7282-B14B-BF81-25274F8CFDDC}">
          <p14:sldIdLst>
            <p14:sldId id="348"/>
            <p14:sldId id="361"/>
            <p14:sldId id="336"/>
            <p14:sldId id="349"/>
          </p14:sldIdLst>
        </p14:section>
        <p14:section name="Half a year in industry" id="{A6658212-99DF-8B46-9B37-82CFAB01D483}">
          <p14:sldIdLst>
            <p14:sldId id="347"/>
            <p14:sldId id="341"/>
            <p14:sldId id="342"/>
            <p14:sldId id="360"/>
            <p14:sldId id="345"/>
            <p14:sldId id="350"/>
            <p14:sldId id="352"/>
            <p14:sldId id="354"/>
            <p14:sldId id="353"/>
            <p14:sldId id="356"/>
            <p14:sldId id="340"/>
          </p14:sldIdLst>
        </p14:section>
        <p14:section name="Conclusions" id="{00403930-9797-0145-99F1-D9793137B666}">
          <p14:sldIdLst>
            <p14:sldId id="344"/>
          </p14:sldIdLst>
        </p14:section>
        <p14:section name="Last" id="{3860B598-2AA0-3D4D-9E31-40720C0401E6}">
          <p14:sldIdLst>
            <p14:sldId id="282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DD3"/>
    <a:srgbClr val="91C349"/>
    <a:srgbClr val="0D4067"/>
    <a:srgbClr val="8DC63F"/>
    <a:srgbClr val="FFFFFF"/>
    <a:srgbClr val="ACE0ED"/>
    <a:srgbClr val="00B6DE"/>
    <a:srgbClr val="A9DEE8"/>
    <a:srgbClr val="A97A84"/>
    <a:srgbClr val="003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6207" autoAdjust="0"/>
  </p:normalViewPr>
  <p:slideViewPr>
    <p:cSldViewPr>
      <p:cViewPr varScale="1">
        <p:scale>
          <a:sx n="92" d="100"/>
          <a:sy n="92" d="100"/>
        </p:scale>
        <p:origin x="-2152" y="-11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5.xml"/><Relationship Id="rId21" Type="http://schemas.openxmlformats.org/officeDocument/2006/relationships/slide" Target="slides/slide16.xml"/><Relationship Id="rId22" Type="http://schemas.openxmlformats.org/officeDocument/2006/relationships/slide" Target="slides/slide17.xml"/><Relationship Id="rId23" Type="http://schemas.openxmlformats.org/officeDocument/2006/relationships/slide" Target="slides/slide18.xml"/><Relationship Id="rId24" Type="http://schemas.openxmlformats.org/officeDocument/2006/relationships/slide" Target="slides/slide19.xml"/><Relationship Id="rId25" Type="http://schemas.openxmlformats.org/officeDocument/2006/relationships/slide" Target="slides/slide20.xml"/><Relationship Id="rId26" Type="http://schemas.openxmlformats.org/officeDocument/2006/relationships/slide" Target="slides/slide21.xml"/><Relationship Id="rId27" Type="http://schemas.openxmlformats.org/officeDocument/2006/relationships/slide" Target="slides/slide22.xml"/><Relationship Id="rId28" Type="http://schemas.openxmlformats.org/officeDocument/2006/relationships/slide" Target="slides/slide23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30" Type="http://schemas.openxmlformats.org/officeDocument/2006/relationships/slide" Target="slides/slide25.xml"/><Relationship Id="rId31" Type="http://schemas.openxmlformats.org/officeDocument/2006/relationships/slide" Target="slides/slide26.xml"/><Relationship Id="rId32" Type="http://schemas.openxmlformats.org/officeDocument/2006/relationships/slide" Target="slides/slide27.xml"/><Relationship Id="rId9" Type="http://schemas.openxmlformats.org/officeDocument/2006/relationships/slide" Target="slides/slide4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33" Type="http://schemas.openxmlformats.org/officeDocument/2006/relationships/notesMaster" Target="notesMasters/notesMaster1.xml"/><Relationship Id="rId34" Type="http://schemas.openxmlformats.org/officeDocument/2006/relationships/printerSettings" Target="printerSettings/printerSettings1.bin"/><Relationship Id="rId35" Type="http://schemas.openxmlformats.org/officeDocument/2006/relationships/presProps" Target="presProps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1" Type="http://schemas.openxmlformats.org/officeDocument/2006/relationships/slide" Target="slides/slide6.xml"/><Relationship Id="rId12" Type="http://schemas.openxmlformats.org/officeDocument/2006/relationships/slide" Target="slides/slide7.xml"/><Relationship Id="rId13" Type="http://schemas.openxmlformats.org/officeDocument/2006/relationships/slide" Target="slides/slide8.xml"/><Relationship Id="rId14" Type="http://schemas.openxmlformats.org/officeDocument/2006/relationships/slide" Target="slides/slide9.xml"/><Relationship Id="rId15" Type="http://schemas.openxmlformats.org/officeDocument/2006/relationships/slide" Target="slides/slide10.xml"/><Relationship Id="rId16" Type="http://schemas.openxmlformats.org/officeDocument/2006/relationships/slide" Target="slides/slide11.xml"/><Relationship Id="rId17" Type="http://schemas.openxmlformats.org/officeDocument/2006/relationships/slide" Target="slides/slide12.xml"/><Relationship Id="rId18" Type="http://schemas.openxmlformats.org/officeDocument/2006/relationships/slide" Target="slides/slide13.xml"/><Relationship Id="rId19" Type="http://schemas.openxmlformats.org/officeDocument/2006/relationships/slide" Target="slides/slide14.xml"/><Relationship Id="rId37" Type="http://schemas.openxmlformats.org/officeDocument/2006/relationships/theme" Target="theme/theme1.xml"/><Relationship Id="rId38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6"/>
    </mc:Choice>
    <mc:Fallback>
      <c:style val="16"/>
    </mc:Fallback>
  </mc:AlternateContent>
  <c:chart>
    <c:title>
      <c:layout/>
      <c:overlay val="0"/>
    </c:title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# Articles</c:v>
                </c:pt>
              </c:strCache>
            </c:strRef>
          </c:tx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11.0</c:v>
                </c:pt>
                <c:pt idx="1">
                  <c:v>2012.0</c:v>
                </c:pt>
                <c:pt idx="2">
                  <c:v>2013.0</c:v>
                </c:pt>
                <c:pt idx="3">
                  <c:v>2014.0</c:v>
                </c:pt>
              </c:numCache>
            </c:numRef>
          </c:cat>
          <c:val>
            <c:numRef>
              <c:f>Sheet1!$B$2:$B$5</c:f>
              <c:numCache>
                <c:formatCode>0</c:formatCode>
                <c:ptCount val="4"/>
                <c:pt idx="0">
                  <c:v>0.0</c:v>
                </c:pt>
                <c:pt idx="1">
                  <c:v>1.0</c:v>
                </c:pt>
                <c:pt idx="2">
                  <c:v>4.0</c:v>
                </c:pt>
                <c:pt idx="3">
                  <c:v>2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115307448"/>
        <c:axId val="2115304360"/>
        <c:axId val="0"/>
      </c:bar3DChart>
      <c:catAx>
        <c:axId val="21153074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115304360"/>
        <c:crosses val="autoZero"/>
        <c:auto val="1"/>
        <c:lblAlgn val="ctr"/>
        <c:lblOffset val="100"/>
        <c:noMultiLvlLbl val="0"/>
      </c:catAx>
      <c:valAx>
        <c:axId val="2115304360"/>
        <c:scaling>
          <c:orientation val="minMax"/>
          <c:max val="4.5"/>
          <c:min val="0.0"/>
        </c:scaling>
        <c:delete val="0"/>
        <c:axPos val="l"/>
        <c:majorGridlines/>
        <c:numFmt formatCode="0" sourceLinked="1"/>
        <c:majorTickMark val="out"/>
        <c:minorTickMark val="none"/>
        <c:tickLblPos val="nextTo"/>
        <c:crossAx val="2115307448"/>
        <c:crosses val="autoZero"/>
        <c:crossBetween val="between"/>
        <c:majorUnit val="1.0"/>
        <c:minorUnit val="0.2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EDCF2BF-C549-894A-94CE-448D0C0F5EC1}" type="doc">
      <dgm:prSet loTypeId="urn:microsoft.com/office/officeart/2005/8/layout/chevron1" loCatId="" qsTypeId="urn:microsoft.com/office/officeart/2005/8/quickstyle/simple4" qsCatId="simple" csTypeId="urn:microsoft.com/office/officeart/2005/8/colors/accent1_2" csCatId="accent1" phldr="1"/>
      <dgm:spPr/>
    </dgm:pt>
    <dgm:pt modelId="{DD624DB2-2365-D140-9885-8EA41C255F71}">
      <dgm:prSet phldrT="[Text]"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2000" b="1" dirty="0" smtClean="0">
              <a:solidFill>
                <a:srgbClr val="171515"/>
              </a:solidFill>
            </a:rPr>
            <a:t>Middle of PhD</a:t>
          </a:r>
          <a:endParaRPr lang="en-US" sz="2000" dirty="0"/>
        </a:p>
      </dgm:t>
    </dgm:pt>
    <dgm:pt modelId="{7779C6FB-7670-BE48-A6B8-2386C8E62FE7}" type="parTrans" cxnId="{A24474B2-ED87-DC40-BA5A-AB612D6689D5}">
      <dgm:prSet/>
      <dgm:spPr/>
      <dgm:t>
        <a:bodyPr/>
        <a:lstStyle/>
        <a:p>
          <a:endParaRPr lang="en-US"/>
        </a:p>
      </dgm:t>
    </dgm:pt>
    <dgm:pt modelId="{4F94097E-AE6D-DD4C-A5C3-1895ED6DBBAA}" type="sibTrans" cxnId="{A24474B2-ED87-DC40-BA5A-AB612D6689D5}">
      <dgm:prSet/>
      <dgm:spPr/>
      <dgm:t>
        <a:bodyPr/>
        <a:lstStyle/>
        <a:p>
          <a:endParaRPr lang="en-US"/>
        </a:p>
      </dgm:t>
    </dgm:pt>
    <dgm:pt modelId="{887573C7-D64C-B149-9E37-F8A14A8B8A5C}" type="pres">
      <dgm:prSet presAssocID="{BEDCF2BF-C549-894A-94CE-448D0C0F5EC1}" presName="Name0" presStyleCnt="0">
        <dgm:presLayoutVars>
          <dgm:dir/>
          <dgm:animLvl val="lvl"/>
          <dgm:resizeHandles val="exact"/>
        </dgm:presLayoutVars>
      </dgm:prSet>
      <dgm:spPr/>
    </dgm:pt>
    <dgm:pt modelId="{C4DBA0D8-7289-BD4B-A7B0-6D4B8C598CCF}" type="pres">
      <dgm:prSet presAssocID="{DD624DB2-2365-D140-9885-8EA41C255F71}" presName="parTxOnly" presStyleLbl="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24474B2-ED87-DC40-BA5A-AB612D6689D5}" srcId="{BEDCF2BF-C549-894A-94CE-448D0C0F5EC1}" destId="{DD624DB2-2365-D140-9885-8EA41C255F71}" srcOrd="0" destOrd="0" parTransId="{7779C6FB-7670-BE48-A6B8-2386C8E62FE7}" sibTransId="{4F94097E-AE6D-DD4C-A5C3-1895ED6DBBAA}"/>
    <dgm:cxn modelId="{0FDEFC15-898E-0446-8070-15058D7D6766}" type="presOf" srcId="{BEDCF2BF-C549-894A-94CE-448D0C0F5EC1}" destId="{887573C7-D64C-B149-9E37-F8A14A8B8A5C}" srcOrd="0" destOrd="0" presId="urn:microsoft.com/office/officeart/2005/8/layout/chevron1"/>
    <dgm:cxn modelId="{A22BE352-09F7-DC4C-AF06-0E8BDEF87275}" type="presOf" srcId="{DD624DB2-2365-D140-9885-8EA41C255F71}" destId="{C4DBA0D8-7289-BD4B-A7B0-6D4B8C598CCF}" srcOrd="0" destOrd="0" presId="urn:microsoft.com/office/officeart/2005/8/layout/chevron1"/>
    <dgm:cxn modelId="{2373647B-2F34-0649-B541-F0EA3CA9DCAE}" type="presParOf" srcId="{887573C7-D64C-B149-9E37-F8A14A8B8A5C}" destId="{C4DBA0D8-7289-BD4B-A7B0-6D4B8C598CCF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BEDCF2BF-C549-894A-94CE-448D0C0F5EC1}" type="doc">
      <dgm:prSet loTypeId="urn:microsoft.com/office/officeart/2005/8/layout/chevron1" loCatId="" qsTypeId="urn:microsoft.com/office/officeart/2005/8/quickstyle/simple4" qsCatId="simple" csTypeId="urn:microsoft.com/office/officeart/2005/8/colors/accent1_2" csCatId="accent1" phldr="1"/>
      <dgm:spPr/>
    </dgm:pt>
    <dgm:pt modelId="{DD624DB2-2365-D140-9885-8EA41C255F71}">
      <dgm:prSet phldrT="[Text]"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2000" b="1" dirty="0" smtClean="0">
              <a:solidFill>
                <a:srgbClr val="171515"/>
              </a:solidFill>
            </a:rPr>
            <a:t>Middle of PhD</a:t>
          </a:r>
          <a:endParaRPr lang="en-US" sz="2000" dirty="0"/>
        </a:p>
      </dgm:t>
    </dgm:pt>
    <dgm:pt modelId="{7779C6FB-7670-BE48-A6B8-2386C8E62FE7}" type="parTrans" cxnId="{A24474B2-ED87-DC40-BA5A-AB612D6689D5}">
      <dgm:prSet/>
      <dgm:spPr/>
      <dgm:t>
        <a:bodyPr/>
        <a:lstStyle/>
        <a:p>
          <a:endParaRPr lang="en-US"/>
        </a:p>
      </dgm:t>
    </dgm:pt>
    <dgm:pt modelId="{4F94097E-AE6D-DD4C-A5C3-1895ED6DBBAA}" type="sibTrans" cxnId="{A24474B2-ED87-DC40-BA5A-AB612D6689D5}">
      <dgm:prSet/>
      <dgm:spPr/>
      <dgm:t>
        <a:bodyPr/>
        <a:lstStyle/>
        <a:p>
          <a:endParaRPr lang="en-US"/>
        </a:p>
      </dgm:t>
    </dgm:pt>
    <dgm:pt modelId="{887573C7-D64C-B149-9E37-F8A14A8B8A5C}" type="pres">
      <dgm:prSet presAssocID="{BEDCF2BF-C549-894A-94CE-448D0C0F5EC1}" presName="Name0" presStyleCnt="0">
        <dgm:presLayoutVars>
          <dgm:dir/>
          <dgm:animLvl val="lvl"/>
          <dgm:resizeHandles val="exact"/>
        </dgm:presLayoutVars>
      </dgm:prSet>
      <dgm:spPr/>
    </dgm:pt>
    <dgm:pt modelId="{C4DBA0D8-7289-BD4B-A7B0-6D4B8C598CCF}" type="pres">
      <dgm:prSet presAssocID="{DD624DB2-2365-D140-9885-8EA41C255F71}" presName="parTxOnly" presStyleLbl="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24474B2-ED87-DC40-BA5A-AB612D6689D5}" srcId="{BEDCF2BF-C549-894A-94CE-448D0C0F5EC1}" destId="{DD624DB2-2365-D140-9885-8EA41C255F71}" srcOrd="0" destOrd="0" parTransId="{7779C6FB-7670-BE48-A6B8-2386C8E62FE7}" sibTransId="{4F94097E-AE6D-DD4C-A5C3-1895ED6DBBAA}"/>
    <dgm:cxn modelId="{E0D8AC97-3204-3C4B-B1E4-A70A1945EEA4}" type="presOf" srcId="{BEDCF2BF-C549-894A-94CE-448D0C0F5EC1}" destId="{887573C7-D64C-B149-9E37-F8A14A8B8A5C}" srcOrd="0" destOrd="0" presId="urn:microsoft.com/office/officeart/2005/8/layout/chevron1"/>
    <dgm:cxn modelId="{B013AFBF-E62F-0C48-B53E-F770C882055B}" type="presOf" srcId="{DD624DB2-2365-D140-9885-8EA41C255F71}" destId="{C4DBA0D8-7289-BD4B-A7B0-6D4B8C598CCF}" srcOrd="0" destOrd="0" presId="urn:microsoft.com/office/officeart/2005/8/layout/chevron1"/>
    <dgm:cxn modelId="{5F001B65-B2D8-A246-8F4A-F41639D5F7ED}" type="presParOf" srcId="{887573C7-D64C-B149-9E37-F8A14A8B8A5C}" destId="{C4DBA0D8-7289-BD4B-A7B0-6D4B8C598CCF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BEDCF2BF-C549-894A-94CE-448D0C0F5EC1}" type="doc">
      <dgm:prSet loTypeId="urn:microsoft.com/office/officeart/2005/8/layout/chevron1" loCatId="" qsTypeId="urn:microsoft.com/office/officeart/2005/8/quickstyle/simple4" qsCatId="simple" csTypeId="urn:microsoft.com/office/officeart/2005/8/colors/accent1_2" csCatId="accent1" phldr="1"/>
      <dgm:spPr/>
    </dgm:pt>
    <dgm:pt modelId="{DD624DB2-2365-D140-9885-8EA41C255F71}">
      <dgm:prSet phldrT="[Text]"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1700" b="1" dirty="0" smtClean="0">
              <a:solidFill>
                <a:srgbClr val="171515"/>
              </a:solidFill>
            </a:rPr>
            <a:t>Graduation</a:t>
          </a:r>
          <a:endParaRPr lang="en-US" sz="1700" dirty="0"/>
        </a:p>
      </dgm:t>
    </dgm:pt>
    <dgm:pt modelId="{7779C6FB-7670-BE48-A6B8-2386C8E62FE7}" type="parTrans" cxnId="{A24474B2-ED87-DC40-BA5A-AB612D6689D5}">
      <dgm:prSet/>
      <dgm:spPr/>
      <dgm:t>
        <a:bodyPr/>
        <a:lstStyle/>
        <a:p>
          <a:endParaRPr lang="en-US"/>
        </a:p>
      </dgm:t>
    </dgm:pt>
    <dgm:pt modelId="{4F94097E-AE6D-DD4C-A5C3-1895ED6DBBAA}" type="sibTrans" cxnId="{A24474B2-ED87-DC40-BA5A-AB612D6689D5}">
      <dgm:prSet/>
      <dgm:spPr/>
      <dgm:t>
        <a:bodyPr/>
        <a:lstStyle/>
        <a:p>
          <a:endParaRPr lang="en-US"/>
        </a:p>
      </dgm:t>
    </dgm:pt>
    <dgm:pt modelId="{887573C7-D64C-B149-9E37-F8A14A8B8A5C}" type="pres">
      <dgm:prSet presAssocID="{BEDCF2BF-C549-894A-94CE-448D0C0F5EC1}" presName="Name0" presStyleCnt="0">
        <dgm:presLayoutVars>
          <dgm:dir/>
          <dgm:animLvl val="lvl"/>
          <dgm:resizeHandles val="exact"/>
        </dgm:presLayoutVars>
      </dgm:prSet>
      <dgm:spPr/>
    </dgm:pt>
    <dgm:pt modelId="{C4DBA0D8-7289-BD4B-A7B0-6D4B8C598CCF}" type="pres">
      <dgm:prSet presAssocID="{DD624DB2-2365-D140-9885-8EA41C255F71}" presName="parTxOnly" presStyleLbl="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24474B2-ED87-DC40-BA5A-AB612D6689D5}" srcId="{BEDCF2BF-C549-894A-94CE-448D0C0F5EC1}" destId="{DD624DB2-2365-D140-9885-8EA41C255F71}" srcOrd="0" destOrd="0" parTransId="{7779C6FB-7670-BE48-A6B8-2386C8E62FE7}" sibTransId="{4F94097E-AE6D-DD4C-A5C3-1895ED6DBBAA}"/>
    <dgm:cxn modelId="{96649294-CB6A-734B-BEBB-EE5D79BC3C7F}" type="presOf" srcId="{BEDCF2BF-C549-894A-94CE-448D0C0F5EC1}" destId="{887573C7-D64C-B149-9E37-F8A14A8B8A5C}" srcOrd="0" destOrd="0" presId="urn:microsoft.com/office/officeart/2005/8/layout/chevron1"/>
    <dgm:cxn modelId="{E9CE729D-32AA-DC45-A26B-DCDFACE47D6C}" type="presOf" srcId="{DD624DB2-2365-D140-9885-8EA41C255F71}" destId="{C4DBA0D8-7289-BD4B-A7B0-6D4B8C598CCF}" srcOrd="0" destOrd="0" presId="urn:microsoft.com/office/officeart/2005/8/layout/chevron1"/>
    <dgm:cxn modelId="{138343CA-2208-FF4F-B829-91D9260320DF}" type="presParOf" srcId="{887573C7-D64C-B149-9E37-F8A14A8B8A5C}" destId="{C4DBA0D8-7289-BD4B-A7B0-6D4B8C598CCF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BEDCF2BF-C549-894A-94CE-448D0C0F5EC1}" type="doc">
      <dgm:prSet loTypeId="urn:microsoft.com/office/officeart/2005/8/layout/chevron1" loCatId="" qsTypeId="urn:microsoft.com/office/officeart/2005/8/quickstyle/simple4" qsCatId="simple" csTypeId="urn:microsoft.com/office/officeart/2005/8/colors/accent1_2" csCatId="accent1" phldr="1"/>
      <dgm:spPr/>
    </dgm:pt>
    <dgm:pt modelId="{DD624DB2-2365-D140-9885-8EA41C255F71}">
      <dgm:prSet phldrT="[Text]"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2000" b="1" dirty="0" smtClean="0">
              <a:solidFill>
                <a:srgbClr val="171515"/>
              </a:solidFill>
            </a:rPr>
            <a:t>Job hunting</a:t>
          </a:r>
          <a:endParaRPr lang="en-US" sz="2000" dirty="0"/>
        </a:p>
      </dgm:t>
    </dgm:pt>
    <dgm:pt modelId="{7779C6FB-7670-BE48-A6B8-2386C8E62FE7}" type="parTrans" cxnId="{A24474B2-ED87-DC40-BA5A-AB612D6689D5}">
      <dgm:prSet/>
      <dgm:spPr/>
      <dgm:t>
        <a:bodyPr/>
        <a:lstStyle/>
        <a:p>
          <a:endParaRPr lang="en-US"/>
        </a:p>
      </dgm:t>
    </dgm:pt>
    <dgm:pt modelId="{4F94097E-AE6D-DD4C-A5C3-1895ED6DBBAA}" type="sibTrans" cxnId="{A24474B2-ED87-DC40-BA5A-AB612D6689D5}">
      <dgm:prSet/>
      <dgm:spPr/>
      <dgm:t>
        <a:bodyPr/>
        <a:lstStyle/>
        <a:p>
          <a:endParaRPr lang="en-US"/>
        </a:p>
      </dgm:t>
    </dgm:pt>
    <dgm:pt modelId="{887573C7-D64C-B149-9E37-F8A14A8B8A5C}" type="pres">
      <dgm:prSet presAssocID="{BEDCF2BF-C549-894A-94CE-448D0C0F5EC1}" presName="Name0" presStyleCnt="0">
        <dgm:presLayoutVars>
          <dgm:dir/>
          <dgm:animLvl val="lvl"/>
          <dgm:resizeHandles val="exact"/>
        </dgm:presLayoutVars>
      </dgm:prSet>
      <dgm:spPr/>
    </dgm:pt>
    <dgm:pt modelId="{C4DBA0D8-7289-BD4B-A7B0-6D4B8C598CCF}" type="pres">
      <dgm:prSet presAssocID="{DD624DB2-2365-D140-9885-8EA41C255F71}" presName="parTxOnly" presStyleLbl="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24474B2-ED87-DC40-BA5A-AB612D6689D5}" srcId="{BEDCF2BF-C549-894A-94CE-448D0C0F5EC1}" destId="{DD624DB2-2365-D140-9885-8EA41C255F71}" srcOrd="0" destOrd="0" parTransId="{7779C6FB-7670-BE48-A6B8-2386C8E62FE7}" sibTransId="{4F94097E-AE6D-DD4C-A5C3-1895ED6DBBAA}"/>
    <dgm:cxn modelId="{B3F26B6C-2A2B-4141-8A24-869A4F96C2B9}" type="presOf" srcId="{BEDCF2BF-C549-894A-94CE-448D0C0F5EC1}" destId="{887573C7-D64C-B149-9E37-F8A14A8B8A5C}" srcOrd="0" destOrd="0" presId="urn:microsoft.com/office/officeart/2005/8/layout/chevron1"/>
    <dgm:cxn modelId="{79A50DD9-F7C4-D94F-A4C9-6E08ADB2FAF5}" type="presOf" srcId="{DD624DB2-2365-D140-9885-8EA41C255F71}" destId="{C4DBA0D8-7289-BD4B-A7B0-6D4B8C598CCF}" srcOrd="0" destOrd="0" presId="urn:microsoft.com/office/officeart/2005/8/layout/chevron1"/>
    <dgm:cxn modelId="{BAD526B1-BD11-424B-9085-DFA13FF79FD2}" type="presParOf" srcId="{887573C7-D64C-B149-9E37-F8A14A8B8A5C}" destId="{C4DBA0D8-7289-BD4B-A7B0-6D4B8C598CCF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BEDCF2BF-C549-894A-94CE-448D0C0F5EC1}" type="doc">
      <dgm:prSet loTypeId="urn:microsoft.com/office/officeart/2005/8/layout/chevron1" loCatId="" qsTypeId="urn:microsoft.com/office/officeart/2005/8/quickstyle/simple4" qsCatId="simple" csTypeId="urn:microsoft.com/office/officeart/2005/8/colors/accent1_2" csCatId="accent1" phldr="1"/>
      <dgm:spPr/>
    </dgm:pt>
    <dgm:pt modelId="{DD624DB2-2365-D140-9885-8EA41C255F71}">
      <dgm:prSet phldrT="[Text]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b="1" dirty="0" smtClean="0">
              <a:solidFill>
                <a:schemeClr val="accent3">
                  <a:lumMod val="10000"/>
                </a:schemeClr>
              </a:solidFill>
            </a:rPr>
            <a:t>Half a year outside Academia</a:t>
          </a:r>
          <a:endParaRPr lang="en-US" dirty="0"/>
        </a:p>
      </dgm:t>
    </dgm:pt>
    <dgm:pt modelId="{7779C6FB-7670-BE48-A6B8-2386C8E62FE7}" type="parTrans" cxnId="{A24474B2-ED87-DC40-BA5A-AB612D6689D5}">
      <dgm:prSet/>
      <dgm:spPr/>
      <dgm:t>
        <a:bodyPr/>
        <a:lstStyle/>
        <a:p>
          <a:endParaRPr lang="en-US"/>
        </a:p>
      </dgm:t>
    </dgm:pt>
    <dgm:pt modelId="{4F94097E-AE6D-DD4C-A5C3-1895ED6DBBAA}" type="sibTrans" cxnId="{A24474B2-ED87-DC40-BA5A-AB612D6689D5}">
      <dgm:prSet/>
      <dgm:spPr/>
      <dgm:t>
        <a:bodyPr/>
        <a:lstStyle/>
        <a:p>
          <a:endParaRPr lang="en-US"/>
        </a:p>
      </dgm:t>
    </dgm:pt>
    <dgm:pt modelId="{887573C7-D64C-B149-9E37-F8A14A8B8A5C}" type="pres">
      <dgm:prSet presAssocID="{BEDCF2BF-C549-894A-94CE-448D0C0F5EC1}" presName="Name0" presStyleCnt="0">
        <dgm:presLayoutVars>
          <dgm:dir/>
          <dgm:animLvl val="lvl"/>
          <dgm:resizeHandles val="exact"/>
        </dgm:presLayoutVars>
      </dgm:prSet>
      <dgm:spPr/>
    </dgm:pt>
    <dgm:pt modelId="{C4DBA0D8-7289-BD4B-A7B0-6D4B8C598CCF}" type="pres">
      <dgm:prSet presAssocID="{DD624DB2-2365-D140-9885-8EA41C255F71}" presName="parTxOnly" presStyleLbl="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24474B2-ED87-DC40-BA5A-AB612D6689D5}" srcId="{BEDCF2BF-C549-894A-94CE-448D0C0F5EC1}" destId="{DD624DB2-2365-D140-9885-8EA41C255F71}" srcOrd="0" destOrd="0" parTransId="{7779C6FB-7670-BE48-A6B8-2386C8E62FE7}" sibTransId="{4F94097E-AE6D-DD4C-A5C3-1895ED6DBBAA}"/>
    <dgm:cxn modelId="{266EC6D6-E9EA-2B43-B9B5-6C8D63CE665A}" type="presOf" srcId="{DD624DB2-2365-D140-9885-8EA41C255F71}" destId="{C4DBA0D8-7289-BD4B-A7B0-6D4B8C598CCF}" srcOrd="0" destOrd="0" presId="urn:microsoft.com/office/officeart/2005/8/layout/chevron1"/>
    <dgm:cxn modelId="{B8E07600-939D-E747-9185-E35288F23F82}" type="presOf" srcId="{BEDCF2BF-C549-894A-94CE-448D0C0F5EC1}" destId="{887573C7-D64C-B149-9E37-F8A14A8B8A5C}" srcOrd="0" destOrd="0" presId="urn:microsoft.com/office/officeart/2005/8/layout/chevron1"/>
    <dgm:cxn modelId="{B37639F2-BEC2-5B4E-A381-5341C8645360}" type="presParOf" srcId="{887573C7-D64C-B149-9E37-F8A14A8B8A5C}" destId="{C4DBA0D8-7289-BD4B-A7B0-6D4B8C598CCF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FC8AD5D2-6FEE-C241-98F8-4C466E0FB022}" type="doc">
      <dgm:prSet loTypeId="urn:microsoft.com/office/officeart/2005/8/layout/vProcess5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E388D9B-328F-4443-934C-3F2C0B0501CA}">
      <dgm:prSet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b="1" dirty="0" smtClean="0">
              <a:solidFill>
                <a:schemeClr val="accent3">
                  <a:lumMod val="10000"/>
                </a:schemeClr>
              </a:solidFill>
            </a:rPr>
            <a:t>Financial </a:t>
          </a:r>
          <a:r>
            <a:rPr lang="en-US" b="1" dirty="0" smtClean="0">
              <a:solidFill>
                <a:schemeClr val="accent3">
                  <a:lumMod val="10000"/>
                </a:schemeClr>
              </a:solidFill>
            </a:rPr>
            <a:t>services</a:t>
          </a:r>
          <a:endParaRPr lang="en-US" b="1" dirty="0">
            <a:solidFill>
              <a:schemeClr val="accent3">
                <a:lumMod val="10000"/>
              </a:schemeClr>
            </a:solidFill>
          </a:endParaRPr>
        </a:p>
      </dgm:t>
    </dgm:pt>
    <dgm:pt modelId="{3ED071D3-C2F5-2E4F-8D03-5B3A5BBE0313}" type="parTrans" cxnId="{7A64E893-A4AB-684E-8D7F-AC9B6B1BF0B0}">
      <dgm:prSet/>
      <dgm:spPr/>
      <dgm:t>
        <a:bodyPr/>
        <a:lstStyle/>
        <a:p>
          <a:endParaRPr lang="en-US"/>
        </a:p>
      </dgm:t>
    </dgm:pt>
    <dgm:pt modelId="{F7D01F98-CE52-164E-9B8F-2BE4EAA33856}" type="sibTrans" cxnId="{7A64E893-A4AB-684E-8D7F-AC9B6B1BF0B0}">
      <dgm:prSet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endParaRPr lang="en-US"/>
        </a:p>
      </dgm:t>
    </dgm:pt>
    <dgm:pt modelId="{53D938A2-3D5F-B040-8975-06E204FE0122}">
      <dgm:prSet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b="1" dirty="0" smtClean="0">
              <a:solidFill>
                <a:srgbClr val="171515"/>
              </a:solidFill>
            </a:rPr>
            <a:t>Project &amp; </a:t>
          </a:r>
          <a:r>
            <a:rPr lang="en-US" b="1" dirty="0" smtClean="0">
              <a:solidFill>
                <a:srgbClr val="171515"/>
              </a:solidFill>
            </a:rPr>
            <a:t>Business support</a:t>
          </a:r>
          <a:endParaRPr lang="en-US" b="1" dirty="0">
            <a:solidFill>
              <a:srgbClr val="171515"/>
            </a:solidFill>
          </a:endParaRPr>
        </a:p>
      </dgm:t>
    </dgm:pt>
    <dgm:pt modelId="{8DE86E69-914C-F349-922E-0160405AB92D}" type="parTrans" cxnId="{5966ACA9-40E1-F24A-A18D-5FE2FD5C486C}">
      <dgm:prSet/>
      <dgm:spPr/>
      <dgm:t>
        <a:bodyPr/>
        <a:lstStyle/>
        <a:p>
          <a:endParaRPr lang="en-US"/>
        </a:p>
      </dgm:t>
    </dgm:pt>
    <dgm:pt modelId="{19F0F231-B949-2541-9796-B051DE4C7612}" type="sibTrans" cxnId="{5966ACA9-40E1-F24A-A18D-5FE2FD5C486C}">
      <dgm:prSet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endParaRPr lang="en-US"/>
        </a:p>
      </dgm:t>
    </dgm:pt>
    <dgm:pt modelId="{4A510C08-697B-C949-8CE3-90978D3CC1CF}">
      <dgm:prSet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b="1" dirty="0" smtClean="0">
              <a:solidFill>
                <a:srgbClr val="171515"/>
              </a:solidFill>
            </a:rPr>
            <a:t>Non-functional testing</a:t>
          </a:r>
          <a:endParaRPr lang="en-US" b="1" dirty="0">
            <a:solidFill>
              <a:srgbClr val="171515"/>
            </a:solidFill>
          </a:endParaRPr>
        </a:p>
      </dgm:t>
    </dgm:pt>
    <dgm:pt modelId="{E12DC00F-773B-4643-8B21-B45805E2DE6F}" type="parTrans" cxnId="{7B1BD07A-3BBF-9B47-9631-B29A9CD15954}">
      <dgm:prSet/>
      <dgm:spPr/>
      <dgm:t>
        <a:bodyPr/>
        <a:lstStyle/>
        <a:p>
          <a:endParaRPr lang="en-US"/>
        </a:p>
      </dgm:t>
    </dgm:pt>
    <dgm:pt modelId="{0FAD58D5-E3C2-F44F-B993-232C588A5452}" type="sibTrans" cxnId="{7B1BD07A-3BBF-9B47-9631-B29A9CD15954}">
      <dgm:prSet/>
      <dgm:spPr/>
      <dgm:t>
        <a:bodyPr/>
        <a:lstStyle/>
        <a:p>
          <a:endParaRPr lang="en-US"/>
        </a:p>
      </dgm:t>
    </dgm:pt>
    <dgm:pt modelId="{507765F8-D2CF-134A-ACAE-4683C2D1AED9}">
      <dgm:prSet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b="1" dirty="0" smtClean="0">
              <a:solidFill>
                <a:srgbClr val="171515"/>
              </a:solidFill>
            </a:rPr>
            <a:t>Pre-production </a:t>
          </a:r>
          <a:r>
            <a:rPr lang="en-US" b="1" dirty="0" smtClean="0">
              <a:solidFill>
                <a:srgbClr val="171515"/>
              </a:solidFill>
            </a:rPr>
            <a:t>services</a:t>
          </a:r>
          <a:endParaRPr lang="en-US" dirty="0"/>
        </a:p>
      </dgm:t>
    </dgm:pt>
    <dgm:pt modelId="{58E761E5-DE70-2046-833D-1AC7FBD17857}" type="parTrans" cxnId="{BBFDA223-9928-4647-BA36-FD89E3B93CF0}">
      <dgm:prSet/>
      <dgm:spPr/>
      <dgm:t>
        <a:bodyPr/>
        <a:lstStyle/>
        <a:p>
          <a:endParaRPr lang="en-US"/>
        </a:p>
      </dgm:t>
    </dgm:pt>
    <dgm:pt modelId="{0758800F-AEFD-A445-85C0-B603BEC988A9}" type="sibTrans" cxnId="{BBFDA223-9928-4647-BA36-FD89E3B93CF0}">
      <dgm:prSet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endParaRPr lang="en-US"/>
        </a:p>
      </dgm:t>
    </dgm:pt>
    <dgm:pt modelId="{DF36B501-0077-6D46-AB28-21F9AB77E4FA}" type="pres">
      <dgm:prSet presAssocID="{FC8AD5D2-6FEE-C241-98F8-4C466E0FB022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17618CB-0B1E-CF4D-BC3D-DB57ACBEA2CC}" type="pres">
      <dgm:prSet presAssocID="{FC8AD5D2-6FEE-C241-98F8-4C466E0FB022}" presName="dummyMaxCanvas" presStyleCnt="0">
        <dgm:presLayoutVars/>
      </dgm:prSet>
      <dgm:spPr/>
    </dgm:pt>
    <dgm:pt modelId="{2934AA14-3146-3C47-8189-89AA450B5CBA}" type="pres">
      <dgm:prSet presAssocID="{FC8AD5D2-6FEE-C241-98F8-4C466E0FB022}" presName="FourNodes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4C995C4-F669-D648-88F1-FB0F5F8BD967}" type="pres">
      <dgm:prSet presAssocID="{FC8AD5D2-6FEE-C241-98F8-4C466E0FB022}" presName="FourNodes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34DB328-98F4-304D-9B2D-34D05576963F}" type="pres">
      <dgm:prSet presAssocID="{FC8AD5D2-6FEE-C241-98F8-4C466E0FB022}" presName="FourNodes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A305821-DCEB-3A45-8982-7CA7F762D08E}" type="pres">
      <dgm:prSet presAssocID="{FC8AD5D2-6FEE-C241-98F8-4C466E0FB022}" presName="FourNodes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47A3C15-2492-2749-A803-2244113A2253}" type="pres">
      <dgm:prSet presAssocID="{FC8AD5D2-6FEE-C241-98F8-4C466E0FB022}" presName="FourConn_1-2" presStyleLbl="f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85CBE98-A714-2C4E-8D41-72C3B65BCE09}" type="pres">
      <dgm:prSet presAssocID="{FC8AD5D2-6FEE-C241-98F8-4C466E0FB022}" presName="FourConn_2-3" presStyleLbl="f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12DE43-DCCC-D24B-B83C-9272A3183DE6}" type="pres">
      <dgm:prSet presAssocID="{FC8AD5D2-6FEE-C241-98F8-4C466E0FB022}" presName="FourConn_3-4" presStyleLbl="f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12282A2-C053-3F4E-8EF1-4257DE6C5E9E}" type="pres">
      <dgm:prSet presAssocID="{FC8AD5D2-6FEE-C241-98F8-4C466E0FB022}" presName="FourNodes_1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F364359-524F-CE4A-9020-D923A22EF684}" type="pres">
      <dgm:prSet presAssocID="{FC8AD5D2-6FEE-C241-98F8-4C466E0FB022}" presName="FourNodes_2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15C7C97-B4B2-004F-9CD2-B0D64877D361}" type="pres">
      <dgm:prSet presAssocID="{FC8AD5D2-6FEE-C241-98F8-4C466E0FB022}" presName="FourNodes_3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F8C28DE-5D53-9F49-9EE3-F7C439DB60ED}" type="pres">
      <dgm:prSet presAssocID="{FC8AD5D2-6FEE-C241-98F8-4C466E0FB022}" presName="FourNodes_4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A64E893-A4AB-684E-8D7F-AC9B6B1BF0B0}" srcId="{FC8AD5D2-6FEE-C241-98F8-4C466E0FB022}" destId="{9E388D9B-328F-4443-934C-3F2C0B0501CA}" srcOrd="0" destOrd="0" parTransId="{3ED071D3-C2F5-2E4F-8D03-5B3A5BBE0313}" sibTransId="{F7D01F98-CE52-164E-9B8F-2BE4EAA33856}"/>
    <dgm:cxn modelId="{06EEAA64-B703-F146-9ED0-1A10ECCA1562}" type="presOf" srcId="{53D938A2-3D5F-B040-8975-06E204FE0122}" destId="{FF364359-524F-CE4A-9020-D923A22EF684}" srcOrd="1" destOrd="0" presId="urn:microsoft.com/office/officeart/2005/8/layout/vProcess5"/>
    <dgm:cxn modelId="{7B1BD07A-3BBF-9B47-9631-B29A9CD15954}" srcId="{FC8AD5D2-6FEE-C241-98F8-4C466E0FB022}" destId="{4A510C08-697B-C949-8CE3-90978D3CC1CF}" srcOrd="3" destOrd="0" parTransId="{E12DC00F-773B-4643-8B21-B45805E2DE6F}" sibTransId="{0FAD58D5-E3C2-F44F-B993-232C588A5452}"/>
    <dgm:cxn modelId="{14553660-169C-FD43-A4DD-07ED26C0E237}" type="presOf" srcId="{4A510C08-697B-C949-8CE3-90978D3CC1CF}" destId="{FF8C28DE-5D53-9F49-9EE3-F7C439DB60ED}" srcOrd="1" destOrd="0" presId="urn:microsoft.com/office/officeart/2005/8/layout/vProcess5"/>
    <dgm:cxn modelId="{7E3616C7-AF7F-C845-8B7A-91CE068264D6}" type="presOf" srcId="{FC8AD5D2-6FEE-C241-98F8-4C466E0FB022}" destId="{DF36B501-0077-6D46-AB28-21F9AB77E4FA}" srcOrd="0" destOrd="0" presId="urn:microsoft.com/office/officeart/2005/8/layout/vProcess5"/>
    <dgm:cxn modelId="{CC67E113-4FB4-6845-AA1D-54FC02B53ED9}" type="presOf" srcId="{4A510C08-697B-C949-8CE3-90978D3CC1CF}" destId="{EA305821-DCEB-3A45-8982-7CA7F762D08E}" srcOrd="0" destOrd="0" presId="urn:microsoft.com/office/officeart/2005/8/layout/vProcess5"/>
    <dgm:cxn modelId="{9F76B24F-8362-9C44-B5E9-2DEBADE7E15A}" type="presOf" srcId="{507765F8-D2CF-134A-ACAE-4683C2D1AED9}" destId="{915C7C97-B4B2-004F-9CD2-B0D64877D361}" srcOrd="1" destOrd="0" presId="urn:microsoft.com/office/officeart/2005/8/layout/vProcess5"/>
    <dgm:cxn modelId="{974806BF-2B38-BC48-931F-60F0314616D7}" type="presOf" srcId="{19F0F231-B949-2541-9796-B051DE4C7612}" destId="{B85CBE98-A714-2C4E-8D41-72C3B65BCE09}" srcOrd="0" destOrd="0" presId="urn:microsoft.com/office/officeart/2005/8/layout/vProcess5"/>
    <dgm:cxn modelId="{BBFDA223-9928-4647-BA36-FD89E3B93CF0}" srcId="{FC8AD5D2-6FEE-C241-98F8-4C466E0FB022}" destId="{507765F8-D2CF-134A-ACAE-4683C2D1AED9}" srcOrd="2" destOrd="0" parTransId="{58E761E5-DE70-2046-833D-1AC7FBD17857}" sibTransId="{0758800F-AEFD-A445-85C0-B603BEC988A9}"/>
    <dgm:cxn modelId="{5966ACA9-40E1-F24A-A18D-5FE2FD5C486C}" srcId="{FC8AD5D2-6FEE-C241-98F8-4C466E0FB022}" destId="{53D938A2-3D5F-B040-8975-06E204FE0122}" srcOrd="1" destOrd="0" parTransId="{8DE86E69-914C-F349-922E-0160405AB92D}" sibTransId="{19F0F231-B949-2541-9796-B051DE4C7612}"/>
    <dgm:cxn modelId="{7CC1DF3F-1376-174A-8F97-06C9A7178E58}" type="presOf" srcId="{F7D01F98-CE52-164E-9B8F-2BE4EAA33856}" destId="{247A3C15-2492-2749-A803-2244113A2253}" srcOrd="0" destOrd="0" presId="urn:microsoft.com/office/officeart/2005/8/layout/vProcess5"/>
    <dgm:cxn modelId="{21D8D455-D183-E44A-93DB-AD8B921D078A}" type="presOf" srcId="{53D938A2-3D5F-B040-8975-06E204FE0122}" destId="{A4C995C4-F669-D648-88F1-FB0F5F8BD967}" srcOrd="0" destOrd="0" presId="urn:microsoft.com/office/officeart/2005/8/layout/vProcess5"/>
    <dgm:cxn modelId="{8B8C9D81-B587-124F-AAA7-5D3349CE609F}" type="presOf" srcId="{9E388D9B-328F-4443-934C-3F2C0B0501CA}" destId="{912282A2-C053-3F4E-8EF1-4257DE6C5E9E}" srcOrd="1" destOrd="0" presId="urn:microsoft.com/office/officeart/2005/8/layout/vProcess5"/>
    <dgm:cxn modelId="{00EEC6FB-128A-9647-89DF-386277E76BD1}" type="presOf" srcId="{9E388D9B-328F-4443-934C-3F2C0B0501CA}" destId="{2934AA14-3146-3C47-8189-89AA450B5CBA}" srcOrd="0" destOrd="0" presId="urn:microsoft.com/office/officeart/2005/8/layout/vProcess5"/>
    <dgm:cxn modelId="{D0FCFDF8-B481-2246-A285-07DF3EA5CD50}" type="presOf" srcId="{0758800F-AEFD-A445-85C0-B603BEC988A9}" destId="{E512DE43-DCCC-D24B-B83C-9272A3183DE6}" srcOrd="0" destOrd="0" presId="urn:microsoft.com/office/officeart/2005/8/layout/vProcess5"/>
    <dgm:cxn modelId="{B9C0E113-CAD1-2545-B77C-B90AB2C63BB8}" type="presOf" srcId="{507765F8-D2CF-134A-ACAE-4683C2D1AED9}" destId="{C34DB328-98F4-304D-9B2D-34D05576963F}" srcOrd="0" destOrd="0" presId="urn:microsoft.com/office/officeart/2005/8/layout/vProcess5"/>
    <dgm:cxn modelId="{762EA17A-8D25-E744-93A4-4DCFC7AC3138}" type="presParOf" srcId="{DF36B501-0077-6D46-AB28-21F9AB77E4FA}" destId="{517618CB-0B1E-CF4D-BC3D-DB57ACBEA2CC}" srcOrd="0" destOrd="0" presId="urn:microsoft.com/office/officeart/2005/8/layout/vProcess5"/>
    <dgm:cxn modelId="{342447BA-4591-A84E-8DE1-75D14FB305CC}" type="presParOf" srcId="{DF36B501-0077-6D46-AB28-21F9AB77E4FA}" destId="{2934AA14-3146-3C47-8189-89AA450B5CBA}" srcOrd="1" destOrd="0" presId="urn:microsoft.com/office/officeart/2005/8/layout/vProcess5"/>
    <dgm:cxn modelId="{CC1CA559-588C-D148-AF28-41202A8A0585}" type="presParOf" srcId="{DF36B501-0077-6D46-AB28-21F9AB77E4FA}" destId="{A4C995C4-F669-D648-88F1-FB0F5F8BD967}" srcOrd="2" destOrd="0" presId="urn:microsoft.com/office/officeart/2005/8/layout/vProcess5"/>
    <dgm:cxn modelId="{D6BA65A9-E79E-3247-8B20-DA0B303FBF47}" type="presParOf" srcId="{DF36B501-0077-6D46-AB28-21F9AB77E4FA}" destId="{C34DB328-98F4-304D-9B2D-34D05576963F}" srcOrd="3" destOrd="0" presId="urn:microsoft.com/office/officeart/2005/8/layout/vProcess5"/>
    <dgm:cxn modelId="{5C2ACDE5-5BDA-254B-A27B-465E72C7E5D1}" type="presParOf" srcId="{DF36B501-0077-6D46-AB28-21F9AB77E4FA}" destId="{EA305821-DCEB-3A45-8982-7CA7F762D08E}" srcOrd="4" destOrd="0" presId="urn:microsoft.com/office/officeart/2005/8/layout/vProcess5"/>
    <dgm:cxn modelId="{1F87D082-02D5-334A-ABB9-F9E93D2F0A9A}" type="presParOf" srcId="{DF36B501-0077-6D46-AB28-21F9AB77E4FA}" destId="{247A3C15-2492-2749-A803-2244113A2253}" srcOrd="5" destOrd="0" presId="urn:microsoft.com/office/officeart/2005/8/layout/vProcess5"/>
    <dgm:cxn modelId="{550CD1D1-36FC-2849-8F96-1DC732E43BE9}" type="presParOf" srcId="{DF36B501-0077-6D46-AB28-21F9AB77E4FA}" destId="{B85CBE98-A714-2C4E-8D41-72C3B65BCE09}" srcOrd="6" destOrd="0" presId="urn:microsoft.com/office/officeart/2005/8/layout/vProcess5"/>
    <dgm:cxn modelId="{A7B67628-8F85-2143-AAC8-7C4EF427502A}" type="presParOf" srcId="{DF36B501-0077-6D46-AB28-21F9AB77E4FA}" destId="{E512DE43-DCCC-D24B-B83C-9272A3183DE6}" srcOrd="7" destOrd="0" presId="urn:microsoft.com/office/officeart/2005/8/layout/vProcess5"/>
    <dgm:cxn modelId="{BE455778-7E47-C644-83B3-6A7F4FE05CC3}" type="presParOf" srcId="{DF36B501-0077-6D46-AB28-21F9AB77E4FA}" destId="{912282A2-C053-3F4E-8EF1-4257DE6C5E9E}" srcOrd="8" destOrd="0" presId="urn:microsoft.com/office/officeart/2005/8/layout/vProcess5"/>
    <dgm:cxn modelId="{1F7407DC-D24F-814E-851A-868F2C976507}" type="presParOf" srcId="{DF36B501-0077-6D46-AB28-21F9AB77E4FA}" destId="{FF364359-524F-CE4A-9020-D923A22EF684}" srcOrd="9" destOrd="0" presId="urn:microsoft.com/office/officeart/2005/8/layout/vProcess5"/>
    <dgm:cxn modelId="{63A04402-97F9-2548-9056-0C54D4DF0AF3}" type="presParOf" srcId="{DF36B501-0077-6D46-AB28-21F9AB77E4FA}" destId="{915C7C97-B4B2-004F-9CD2-B0D64877D361}" srcOrd="10" destOrd="0" presId="urn:microsoft.com/office/officeart/2005/8/layout/vProcess5"/>
    <dgm:cxn modelId="{BCF168DF-C3BB-B742-9D4E-63618F230AB7}" type="presParOf" srcId="{DF36B501-0077-6D46-AB28-21F9AB77E4FA}" destId="{FF8C28DE-5D53-9F49-9EE3-F7C439DB60ED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6E245E55-B968-F343-8B2E-FBE836E87B60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FA9BA4C-C1A8-FC46-AA71-4BCA782AF3AA}">
      <dgm:prSet phldrT="[Text]"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 vert="vert"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r>
            <a:rPr lang="en-US" sz="1750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P</a:t>
          </a:r>
        </a:p>
        <a:p>
          <a:r>
            <a:rPr lang="en-US" sz="1750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E</a:t>
          </a:r>
        </a:p>
        <a:p>
          <a:r>
            <a:rPr lang="en-US" sz="1750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R</a:t>
          </a:r>
        </a:p>
        <a:p>
          <a:r>
            <a:rPr lang="en-US" sz="1750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F</a:t>
          </a:r>
        </a:p>
        <a:p>
          <a:r>
            <a:rPr lang="en-US" sz="1750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O</a:t>
          </a:r>
        </a:p>
        <a:p>
          <a:r>
            <a:rPr lang="en-US" sz="1750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R</a:t>
          </a:r>
        </a:p>
        <a:p>
          <a:r>
            <a:rPr lang="en-US" sz="1750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M</a:t>
          </a:r>
        </a:p>
        <a:p>
          <a:r>
            <a:rPr lang="en-US" sz="1750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A</a:t>
          </a:r>
        </a:p>
        <a:p>
          <a:r>
            <a:rPr lang="en-US" sz="1750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N</a:t>
          </a:r>
        </a:p>
        <a:p>
          <a:r>
            <a:rPr lang="en-US" sz="1750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C</a:t>
          </a:r>
        </a:p>
        <a:p>
          <a:r>
            <a:rPr lang="en-US" sz="1750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E</a:t>
          </a:r>
          <a:endParaRPr lang="en-US" sz="1750" b="1" cap="all" spc="0" dirty="0">
            <a:ln/>
            <a:solidFill>
              <a:srgbClr val="171515"/>
            </a:solidFill>
            <a:effectLst>
              <a:outerShdw blurRad="19685" dist="12700" dir="5400000" algn="tl" rotWithShape="0">
                <a:schemeClr val="accent1">
                  <a:satMod val="130000"/>
                  <a:alpha val="60000"/>
                </a:schemeClr>
              </a:outerShdw>
              <a:reflection blurRad="10000" stA="55000" endPos="48000" dist="500" dir="5400000" sy="-100000" algn="bl" rotWithShape="0"/>
            </a:effectLst>
          </a:endParaRPr>
        </a:p>
      </dgm:t>
    </dgm:pt>
    <dgm:pt modelId="{3B6D508B-4E7C-EB44-B7C8-5DE76990B1C6}" type="parTrans" cxnId="{6098C676-2678-8948-8007-130FCD8DC15F}">
      <dgm:prSet/>
      <dgm:spPr/>
      <dgm:t>
        <a:bodyPr/>
        <a:lstStyle/>
        <a:p>
          <a:endParaRPr lang="en-US"/>
        </a:p>
      </dgm:t>
    </dgm:pt>
    <dgm:pt modelId="{7625E9D4-4DD1-D447-A65B-CAB762466FD8}" type="sibTrans" cxnId="{6098C676-2678-8948-8007-130FCD8DC15F}">
      <dgm:prSet/>
      <dgm:spPr/>
      <dgm:t>
        <a:bodyPr/>
        <a:lstStyle/>
        <a:p>
          <a:endParaRPr lang="en-US"/>
        </a:p>
      </dgm:t>
    </dgm:pt>
    <dgm:pt modelId="{5E60BC69-6DEC-5C41-9670-67FC6075604B}">
      <dgm:prSet phldrT="[Text]"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r>
            <a:rPr lang="en-US" sz="2600" b="1" cap="all" spc="0" dirty="0" smtClean="0">
              <a:ln/>
              <a:solidFill>
                <a:schemeClr val="accent3">
                  <a:lumMod val="10000"/>
                </a:schemeClr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  <a:latin typeface="Herculanum"/>
              <a:cs typeface="Herculanum"/>
            </a:rPr>
            <a:t>L</a:t>
          </a:r>
          <a:r>
            <a:rPr lang="en-US" sz="2000" b="1" dirty="0" smtClean="0">
              <a:solidFill>
                <a:srgbClr val="171515"/>
              </a:solidFill>
            </a:rPr>
            <a:t>oad</a:t>
          </a:r>
          <a:endParaRPr lang="en-US" sz="2000" b="1" dirty="0">
            <a:solidFill>
              <a:srgbClr val="171515"/>
            </a:solidFill>
          </a:endParaRPr>
        </a:p>
      </dgm:t>
    </dgm:pt>
    <dgm:pt modelId="{6B21B2F5-73AD-2945-B959-F817A3578F5E}" type="parTrans" cxnId="{B6F56B31-D73D-9048-B0B7-6A8B3008C441}">
      <dgm:prSet/>
      <dgm:spPr/>
      <dgm:t>
        <a:bodyPr/>
        <a:lstStyle/>
        <a:p>
          <a:endParaRPr lang="en-US"/>
        </a:p>
      </dgm:t>
    </dgm:pt>
    <dgm:pt modelId="{974BC5D6-7823-EC44-A284-72A2D14182DF}" type="sibTrans" cxnId="{B6F56B31-D73D-9048-B0B7-6A8B3008C441}">
      <dgm:prSet/>
      <dgm:spPr/>
      <dgm:t>
        <a:bodyPr/>
        <a:lstStyle/>
        <a:p>
          <a:endParaRPr lang="en-US"/>
        </a:p>
      </dgm:t>
    </dgm:pt>
    <dgm:pt modelId="{638EC5A2-5D1C-2140-B4E9-8BFAAC107188}">
      <dgm:prSet phldrT="[Text]"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r>
            <a:rPr lang="en-US" sz="2600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  <a:latin typeface="Herculanum"/>
              <a:cs typeface="Herculanum"/>
            </a:rPr>
            <a:t>E</a:t>
          </a:r>
          <a:r>
            <a:rPr lang="en-US" sz="2000" b="1" dirty="0" smtClean="0">
              <a:solidFill>
                <a:srgbClr val="171515"/>
              </a:solidFill>
            </a:rPr>
            <a:t>ndurance</a:t>
          </a:r>
          <a:endParaRPr lang="en-US" sz="2000" b="1" dirty="0">
            <a:solidFill>
              <a:srgbClr val="171515"/>
            </a:solidFill>
          </a:endParaRPr>
        </a:p>
      </dgm:t>
    </dgm:pt>
    <dgm:pt modelId="{1CB64F4F-FFC3-EF42-B89A-D2BCB134B963}" type="parTrans" cxnId="{38690B67-1FAA-2944-A4BC-037E11A1CFA3}">
      <dgm:prSet/>
      <dgm:spPr/>
      <dgm:t>
        <a:bodyPr/>
        <a:lstStyle/>
        <a:p>
          <a:endParaRPr lang="en-US"/>
        </a:p>
      </dgm:t>
    </dgm:pt>
    <dgm:pt modelId="{5483A9F2-058A-8D45-B1DF-6EDC678FF059}" type="sibTrans" cxnId="{38690B67-1FAA-2944-A4BC-037E11A1CFA3}">
      <dgm:prSet/>
      <dgm:spPr/>
      <dgm:t>
        <a:bodyPr/>
        <a:lstStyle/>
        <a:p>
          <a:endParaRPr lang="en-US"/>
        </a:p>
      </dgm:t>
    </dgm:pt>
    <dgm:pt modelId="{656FD449-C424-6D4A-9075-6655F3A516C0}">
      <dgm:prSet phldrT="[Text]"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r>
            <a:rPr lang="en-US" sz="2600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  <a:latin typeface="Herculanum"/>
              <a:cs typeface="Herculanum"/>
            </a:rPr>
            <a:t>S</a:t>
          </a:r>
          <a:r>
            <a:rPr lang="en-US" sz="2000" b="1" dirty="0" smtClean="0">
              <a:solidFill>
                <a:srgbClr val="171515"/>
              </a:solidFill>
            </a:rPr>
            <a:t>tress</a:t>
          </a:r>
          <a:endParaRPr lang="en-US" sz="2000" b="1" dirty="0">
            <a:solidFill>
              <a:srgbClr val="171515"/>
            </a:solidFill>
          </a:endParaRPr>
        </a:p>
      </dgm:t>
    </dgm:pt>
    <dgm:pt modelId="{D01C06F0-FE30-704E-A7BF-0DCEFA88B947}" type="parTrans" cxnId="{FC490324-F4FD-7649-9A20-B7ED12F63B69}">
      <dgm:prSet/>
      <dgm:spPr/>
      <dgm:t>
        <a:bodyPr/>
        <a:lstStyle/>
        <a:p>
          <a:endParaRPr lang="en-US"/>
        </a:p>
      </dgm:t>
    </dgm:pt>
    <dgm:pt modelId="{9C328740-4579-F949-90D4-0DF67D048938}" type="sibTrans" cxnId="{FC490324-F4FD-7649-9A20-B7ED12F63B69}">
      <dgm:prSet/>
      <dgm:spPr/>
      <dgm:t>
        <a:bodyPr/>
        <a:lstStyle/>
        <a:p>
          <a:endParaRPr lang="en-US"/>
        </a:p>
      </dgm:t>
    </dgm:pt>
    <dgm:pt modelId="{4B878F43-2FA9-314B-84B3-B2D00976D29D}">
      <dgm:prSet phldrT="[Text]"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r>
            <a:rPr lang="en-US" sz="2600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  <a:latin typeface="Herculanum"/>
              <a:cs typeface="Herculanum"/>
            </a:rPr>
            <a:t>S</a:t>
          </a:r>
          <a:r>
            <a:rPr lang="en-US" sz="2000" b="1" dirty="0" smtClean="0">
              <a:solidFill>
                <a:srgbClr val="171515"/>
              </a:solidFill>
            </a:rPr>
            <a:t>pike</a:t>
          </a:r>
          <a:endParaRPr lang="en-US" sz="2000" b="1" dirty="0">
            <a:solidFill>
              <a:srgbClr val="171515"/>
            </a:solidFill>
          </a:endParaRPr>
        </a:p>
      </dgm:t>
    </dgm:pt>
    <dgm:pt modelId="{F4FAB08B-3212-814B-9787-39F525426682}" type="parTrans" cxnId="{BB72A117-3385-E749-B082-7C95E2595889}">
      <dgm:prSet/>
      <dgm:spPr/>
      <dgm:t>
        <a:bodyPr/>
        <a:lstStyle/>
        <a:p>
          <a:endParaRPr lang="en-US"/>
        </a:p>
      </dgm:t>
    </dgm:pt>
    <dgm:pt modelId="{90D1A23D-DFC2-C646-A6FF-D17C5D4013B7}" type="sibTrans" cxnId="{BB72A117-3385-E749-B082-7C95E2595889}">
      <dgm:prSet/>
      <dgm:spPr/>
      <dgm:t>
        <a:bodyPr/>
        <a:lstStyle/>
        <a:p>
          <a:endParaRPr lang="en-US"/>
        </a:p>
      </dgm:t>
    </dgm:pt>
    <dgm:pt modelId="{91489E66-F407-B141-A984-346934AA0EE5}" type="pres">
      <dgm:prSet presAssocID="{6E245E55-B968-F343-8B2E-FBE836E87B60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11CEA44-AAEB-9842-BB37-51F9940598E3}" type="pres">
      <dgm:prSet presAssocID="{4FA9BA4C-C1A8-FC46-AA71-4BCA782AF3AA}" presName="root1" presStyleCnt="0"/>
      <dgm:spPr/>
    </dgm:pt>
    <dgm:pt modelId="{19A68A7C-00D8-044C-983E-D772DD470EA9}" type="pres">
      <dgm:prSet presAssocID="{4FA9BA4C-C1A8-FC46-AA71-4BCA782AF3AA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2D5CF2E-73FD-DF40-B486-5991201567C7}" type="pres">
      <dgm:prSet presAssocID="{4FA9BA4C-C1A8-FC46-AA71-4BCA782AF3AA}" presName="level2hierChild" presStyleCnt="0"/>
      <dgm:spPr/>
    </dgm:pt>
    <dgm:pt modelId="{E8EC22DD-3337-A648-9871-4DB7EF236BF9}" type="pres">
      <dgm:prSet presAssocID="{6B21B2F5-73AD-2945-B959-F817A3578F5E}" presName="conn2-1" presStyleLbl="parChTrans1D2" presStyleIdx="0" presStyleCnt="4"/>
      <dgm:spPr/>
      <dgm:t>
        <a:bodyPr/>
        <a:lstStyle/>
        <a:p>
          <a:endParaRPr lang="en-US"/>
        </a:p>
      </dgm:t>
    </dgm:pt>
    <dgm:pt modelId="{BB568FAA-135C-6C48-ADCE-38F186FB9FAA}" type="pres">
      <dgm:prSet presAssocID="{6B21B2F5-73AD-2945-B959-F817A3578F5E}" presName="connTx" presStyleLbl="parChTrans1D2" presStyleIdx="0" presStyleCnt="4"/>
      <dgm:spPr/>
      <dgm:t>
        <a:bodyPr/>
        <a:lstStyle/>
        <a:p>
          <a:endParaRPr lang="en-US"/>
        </a:p>
      </dgm:t>
    </dgm:pt>
    <dgm:pt modelId="{7D23597D-7D45-6147-836D-9377BE83EB45}" type="pres">
      <dgm:prSet presAssocID="{5E60BC69-6DEC-5C41-9670-67FC6075604B}" presName="root2" presStyleCnt="0"/>
      <dgm:spPr/>
    </dgm:pt>
    <dgm:pt modelId="{EFDD6FF7-05E1-3447-AB0D-066445AC021F}" type="pres">
      <dgm:prSet presAssocID="{5E60BC69-6DEC-5C41-9670-67FC6075604B}" presName="LevelTwoTextNode" presStyleLbl="node2" presStyleIdx="0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D1467B8-D53B-DE4C-8478-726672054D82}" type="pres">
      <dgm:prSet presAssocID="{5E60BC69-6DEC-5C41-9670-67FC6075604B}" presName="level3hierChild" presStyleCnt="0"/>
      <dgm:spPr/>
    </dgm:pt>
    <dgm:pt modelId="{6077DA98-B47F-2843-9C2B-8364DE8D8BF8}" type="pres">
      <dgm:prSet presAssocID="{1CB64F4F-FFC3-EF42-B89A-D2BCB134B963}" presName="conn2-1" presStyleLbl="parChTrans1D2" presStyleIdx="1" presStyleCnt="4"/>
      <dgm:spPr/>
      <dgm:t>
        <a:bodyPr/>
        <a:lstStyle/>
        <a:p>
          <a:endParaRPr lang="en-US"/>
        </a:p>
      </dgm:t>
    </dgm:pt>
    <dgm:pt modelId="{F5687355-CFD4-A048-8F0D-2727F865D836}" type="pres">
      <dgm:prSet presAssocID="{1CB64F4F-FFC3-EF42-B89A-D2BCB134B963}" presName="connTx" presStyleLbl="parChTrans1D2" presStyleIdx="1" presStyleCnt="4"/>
      <dgm:spPr/>
      <dgm:t>
        <a:bodyPr/>
        <a:lstStyle/>
        <a:p>
          <a:endParaRPr lang="en-US"/>
        </a:p>
      </dgm:t>
    </dgm:pt>
    <dgm:pt modelId="{D6024A1F-2968-B84C-BB5E-88FF3758ABF2}" type="pres">
      <dgm:prSet presAssocID="{638EC5A2-5D1C-2140-B4E9-8BFAAC107188}" presName="root2" presStyleCnt="0"/>
      <dgm:spPr/>
    </dgm:pt>
    <dgm:pt modelId="{E4C677CA-2070-524A-8B8F-356338D7F1F0}" type="pres">
      <dgm:prSet presAssocID="{638EC5A2-5D1C-2140-B4E9-8BFAAC107188}" presName="LevelTwoTextNode" presStyleLbl="node2" presStyleIdx="1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2305661-996E-1E45-967B-86EE02F8612E}" type="pres">
      <dgm:prSet presAssocID="{638EC5A2-5D1C-2140-B4E9-8BFAAC107188}" presName="level3hierChild" presStyleCnt="0"/>
      <dgm:spPr/>
    </dgm:pt>
    <dgm:pt modelId="{5EE5D264-1491-2A4A-BB7E-6DAE785C4AD6}" type="pres">
      <dgm:prSet presAssocID="{D01C06F0-FE30-704E-A7BF-0DCEFA88B947}" presName="conn2-1" presStyleLbl="parChTrans1D2" presStyleIdx="2" presStyleCnt="4"/>
      <dgm:spPr/>
      <dgm:t>
        <a:bodyPr/>
        <a:lstStyle/>
        <a:p>
          <a:endParaRPr lang="en-US"/>
        </a:p>
      </dgm:t>
    </dgm:pt>
    <dgm:pt modelId="{8972F5E9-1095-8D44-816E-45DE053F215F}" type="pres">
      <dgm:prSet presAssocID="{D01C06F0-FE30-704E-A7BF-0DCEFA88B947}" presName="connTx" presStyleLbl="parChTrans1D2" presStyleIdx="2" presStyleCnt="4"/>
      <dgm:spPr/>
      <dgm:t>
        <a:bodyPr/>
        <a:lstStyle/>
        <a:p>
          <a:endParaRPr lang="en-US"/>
        </a:p>
      </dgm:t>
    </dgm:pt>
    <dgm:pt modelId="{FB5007E8-E76E-AB4E-8328-22BA833F1329}" type="pres">
      <dgm:prSet presAssocID="{656FD449-C424-6D4A-9075-6655F3A516C0}" presName="root2" presStyleCnt="0"/>
      <dgm:spPr/>
    </dgm:pt>
    <dgm:pt modelId="{CA8B143F-4775-2649-B3D6-28DEA98AA7BF}" type="pres">
      <dgm:prSet presAssocID="{656FD449-C424-6D4A-9075-6655F3A516C0}" presName="LevelTwoTextNode" presStyleLbl="node2" presStyleIdx="2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FE17F1B-0585-3643-80EB-BC25A69A808C}" type="pres">
      <dgm:prSet presAssocID="{656FD449-C424-6D4A-9075-6655F3A516C0}" presName="level3hierChild" presStyleCnt="0"/>
      <dgm:spPr/>
    </dgm:pt>
    <dgm:pt modelId="{A60092B5-6898-084F-AAC3-DAD18ABCFF4E}" type="pres">
      <dgm:prSet presAssocID="{F4FAB08B-3212-814B-9787-39F525426682}" presName="conn2-1" presStyleLbl="parChTrans1D2" presStyleIdx="3" presStyleCnt="4"/>
      <dgm:spPr/>
      <dgm:t>
        <a:bodyPr/>
        <a:lstStyle/>
        <a:p>
          <a:endParaRPr lang="en-US"/>
        </a:p>
      </dgm:t>
    </dgm:pt>
    <dgm:pt modelId="{4DA4F428-C233-1A48-9DA3-CB10CF4B7EDF}" type="pres">
      <dgm:prSet presAssocID="{F4FAB08B-3212-814B-9787-39F525426682}" presName="connTx" presStyleLbl="parChTrans1D2" presStyleIdx="3" presStyleCnt="4"/>
      <dgm:spPr/>
      <dgm:t>
        <a:bodyPr/>
        <a:lstStyle/>
        <a:p>
          <a:endParaRPr lang="en-US"/>
        </a:p>
      </dgm:t>
    </dgm:pt>
    <dgm:pt modelId="{3399B2DA-430E-F94F-AE57-6FFD68DEF42F}" type="pres">
      <dgm:prSet presAssocID="{4B878F43-2FA9-314B-84B3-B2D00976D29D}" presName="root2" presStyleCnt="0"/>
      <dgm:spPr/>
    </dgm:pt>
    <dgm:pt modelId="{D436739C-FFD7-1A49-8888-38D4708EDFBE}" type="pres">
      <dgm:prSet presAssocID="{4B878F43-2FA9-314B-84B3-B2D00976D29D}" presName="LevelTwoTextNode" presStyleLbl="node2" presStyleIdx="3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31FEC50-B60D-8742-9FB2-1631191932F3}" type="pres">
      <dgm:prSet presAssocID="{4B878F43-2FA9-314B-84B3-B2D00976D29D}" presName="level3hierChild" presStyleCnt="0"/>
      <dgm:spPr/>
    </dgm:pt>
  </dgm:ptLst>
  <dgm:cxnLst>
    <dgm:cxn modelId="{C654254F-E144-D44E-9B27-94DDFE1AC347}" type="presOf" srcId="{5E60BC69-6DEC-5C41-9670-67FC6075604B}" destId="{EFDD6FF7-05E1-3447-AB0D-066445AC021F}" srcOrd="0" destOrd="0" presId="urn:microsoft.com/office/officeart/2008/layout/HorizontalMultiLevelHierarchy"/>
    <dgm:cxn modelId="{B6F56B31-D73D-9048-B0B7-6A8B3008C441}" srcId="{4FA9BA4C-C1A8-FC46-AA71-4BCA782AF3AA}" destId="{5E60BC69-6DEC-5C41-9670-67FC6075604B}" srcOrd="0" destOrd="0" parTransId="{6B21B2F5-73AD-2945-B959-F817A3578F5E}" sibTransId="{974BC5D6-7823-EC44-A284-72A2D14182DF}"/>
    <dgm:cxn modelId="{CE8713CE-ABFF-D643-857E-E1B06FBBC781}" type="presOf" srcId="{D01C06F0-FE30-704E-A7BF-0DCEFA88B947}" destId="{8972F5E9-1095-8D44-816E-45DE053F215F}" srcOrd="1" destOrd="0" presId="urn:microsoft.com/office/officeart/2008/layout/HorizontalMultiLevelHierarchy"/>
    <dgm:cxn modelId="{38690B67-1FAA-2944-A4BC-037E11A1CFA3}" srcId="{4FA9BA4C-C1A8-FC46-AA71-4BCA782AF3AA}" destId="{638EC5A2-5D1C-2140-B4E9-8BFAAC107188}" srcOrd="1" destOrd="0" parTransId="{1CB64F4F-FFC3-EF42-B89A-D2BCB134B963}" sibTransId="{5483A9F2-058A-8D45-B1DF-6EDC678FF059}"/>
    <dgm:cxn modelId="{6D270183-AFE6-374C-86EF-D45350CC9006}" type="presOf" srcId="{6B21B2F5-73AD-2945-B959-F817A3578F5E}" destId="{BB568FAA-135C-6C48-ADCE-38F186FB9FAA}" srcOrd="1" destOrd="0" presId="urn:microsoft.com/office/officeart/2008/layout/HorizontalMultiLevelHierarchy"/>
    <dgm:cxn modelId="{5555D4DC-2F03-CA48-BC39-F23C1BECB66B}" type="presOf" srcId="{1CB64F4F-FFC3-EF42-B89A-D2BCB134B963}" destId="{6077DA98-B47F-2843-9C2B-8364DE8D8BF8}" srcOrd="0" destOrd="0" presId="urn:microsoft.com/office/officeart/2008/layout/HorizontalMultiLevelHierarchy"/>
    <dgm:cxn modelId="{9A87BB06-0179-5C42-B8CC-A53EE9D2AD02}" type="presOf" srcId="{638EC5A2-5D1C-2140-B4E9-8BFAAC107188}" destId="{E4C677CA-2070-524A-8B8F-356338D7F1F0}" srcOrd="0" destOrd="0" presId="urn:microsoft.com/office/officeart/2008/layout/HorizontalMultiLevelHierarchy"/>
    <dgm:cxn modelId="{9EC41AF8-78FE-734C-932A-6466735D3918}" type="presOf" srcId="{656FD449-C424-6D4A-9075-6655F3A516C0}" destId="{CA8B143F-4775-2649-B3D6-28DEA98AA7BF}" srcOrd="0" destOrd="0" presId="urn:microsoft.com/office/officeart/2008/layout/HorizontalMultiLevelHierarchy"/>
    <dgm:cxn modelId="{374E0A7B-84CE-2A4E-89CC-26FE00F2EA1B}" type="presOf" srcId="{6E245E55-B968-F343-8B2E-FBE836E87B60}" destId="{91489E66-F407-B141-A984-346934AA0EE5}" srcOrd="0" destOrd="0" presId="urn:microsoft.com/office/officeart/2008/layout/HorizontalMultiLevelHierarchy"/>
    <dgm:cxn modelId="{772AAFA7-6E29-CB41-A295-2DCBB59EB5C3}" type="presOf" srcId="{F4FAB08B-3212-814B-9787-39F525426682}" destId="{A60092B5-6898-084F-AAC3-DAD18ABCFF4E}" srcOrd="0" destOrd="0" presId="urn:microsoft.com/office/officeart/2008/layout/HorizontalMultiLevelHierarchy"/>
    <dgm:cxn modelId="{6C2257F0-2206-E248-9D36-C774E97BA26E}" type="presOf" srcId="{4FA9BA4C-C1A8-FC46-AA71-4BCA782AF3AA}" destId="{19A68A7C-00D8-044C-983E-D772DD470EA9}" srcOrd="0" destOrd="0" presId="urn:microsoft.com/office/officeart/2008/layout/HorizontalMultiLevelHierarchy"/>
    <dgm:cxn modelId="{FC490324-F4FD-7649-9A20-B7ED12F63B69}" srcId="{4FA9BA4C-C1A8-FC46-AA71-4BCA782AF3AA}" destId="{656FD449-C424-6D4A-9075-6655F3A516C0}" srcOrd="2" destOrd="0" parTransId="{D01C06F0-FE30-704E-A7BF-0DCEFA88B947}" sibTransId="{9C328740-4579-F949-90D4-0DF67D048938}"/>
    <dgm:cxn modelId="{393B7385-6AF5-B44C-9819-4E6911BFA01D}" type="presOf" srcId="{1CB64F4F-FFC3-EF42-B89A-D2BCB134B963}" destId="{F5687355-CFD4-A048-8F0D-2727F865D836}" srcOrd="1" destOrd="0" presId="urn:microsoft.com/office/officeart/2008/layout/HorizontalMultiLevelHierarchy"/>
    <dgm:cxn modelId="{32A5CA2D-B063-A942-9069-9179B92DD8A4}" type="presOf" srcId="{4B878F43-2FA9-314B-84B3-B2D00976D29D}" destId="{D436739C-FFD7-1A49-8888-38D4708EDFBE}" srcOrd="0" destOrd="0" presId="urn:microsoft.com/office/officeart/2008/layout/HorizontalMultiLevelHierarchy"/>
    <dgm:cxn modelId="{4D11006A-1C56-5342-9704-9EC608792D7E}" type="presOf" srcId="{F4FAB08B-3212-814B-9787-39F525426682}" destId="{4DA4F428-C233-1A48-9DA3-CB10CF4B7EDF}" srcOrd="1" destOrd="0" presId="urn:microsoft.com/office/officeart/2008/layout/HorizontalMultiLevelHierarchy"/>
    <dgm:cxn modelId="{BE2E017D-B64A-B848-85CA-10DECA458345}" type="presOf" srcId="{D01C06F0-FE30-704E-A7BF-0DCEFA88B947}" destId="{5EE5D264-1491-2A4A-BB7E-6DAE785C4AD6}" srcOrd="0" destOrd="0" presId="urn:microsoft.com/office/officeart/2008/layout/HorizontalMultiLevelHierarchy"/>
    <dgm:cxn modelId="{6098C676-2678-8948-8007-130FCD8DC15F}" srcId="{6E245E55-B968-F343-8B2E-FBE836E87B60}" destId="{4FA9BA4C-C1A8-FC46-AA71-4BCA782AF3AA}" srcOrd="0" destOrd="0" parTransId="{3B6D508B-4E7C-EB44-B7C8-5DE76990B1C6}" sibTransId="{7625E9D4-4DD1-D447-A65B-CAB762466FD8}"/>
    <dgm:cxn modelId="{BB72A117-3385-E749-B082-7C95E2595889}" srcId="{4FA9BA4C-C1A8-FC46-AA71-4BCA782AF3AA}" destId="{4B878F43-2FA9-314B-84B3-B2D00976D29D}" srcOrd="3" destOrd="0" parTransId="{F4FAB08B-3212-814B-9787-39F525426682}" sibTransId="{90D1A23D-DFC2-C646-A6FF-D17C5D4013B7}"/>
    <dgm:cxn modelId="{0B6198D6-906C-1D4E-BC23-6CF5A8C212C9}" type="presOf" srcId="{6B21B2F5-73AD-2945-B959-F817A3578F5E}" destId="{E8EC22DD-3337-A648-9871-4DB7EF236BF9}" srcOrd="0" destOrd="0" presId="urn:microsoft.com/office/officeart/2008/layout/HorizontalMultiLevelHierarchy"/>
    <dgm:cxn modelId="{AC8A533F-F55B-EB48-B924-C76C0487BF1D}" type="presParOf" srcId="{91489E66-F407-B141-A984-346934AA0EE5}" destId="{D11CEA44-AAEB-9842-BB37-51F9940598E3}" srcOrd="0" destOrd="0" presId="urn:microsoft.com/office/officeart/2008/layout/HorizontalMultiLevelHierarchy"/>
    <dgm:cxn modelId="{6EAA8E2F-E92F-FE4B-B9E0-01FC17BBC274}" type="presParOf" srcId="{D11CEA44-AAEB-9842-BB37-51F9940598E3}" destId="{19A68A7C-00D8-044C-983E-D772DD470EA9}" srcOrd="0" destOrd="0" presId="urn:microsoft.com/office/officeart/2008/layout/HorizontalMultiLevelHierarchy"/>
    <dgm:cxn modelId="{A272E99F-4587-0B49-82BD-97AE372B303F}" type="presParOf" srcId="{D11CEA44-AAEB-9842-BB37-51F9940598E3}" destId="{F2D5CF2E-73FD-DF40-B486-5991201567C7}" srcOrd="1" destOrd="0" presId="urn:microsoft.com/office/officeart/2008/layout/HorizontalMultiLevelHierarchy"/>
    <dgm:cxn modelId="{A93BE696-185D-CE47-8B21-74FF441BAFCB}" type="presParOf" srcId="{F2D5CF2E-73FD-DF40-B486-5991201567C7}" destId="{E8EC22DD-3337-A648-9871-4DB7EF236BF9}" srcOrd="0" destOrd="0" presId="urn:microsoft.com/office/officeart/2008/layout/HorizontalMultiLevelHierarchy"/>
    <dgm:cxn modelId="{4987036F-077B-5241-ADC1-D271581116C0}" type="presParOf" srcId="{E8EC22DD-3337-A648-9871-4DB7EF236BF9}" destId="{BB568FAA-135C-6C48-ADCE-38F186FB9FAA}" srcOrd="0" destOrd="0" presId="urn:microsoft.com/office/officeart/2008/layout/HorizontalMultiLevelHierarchy"/>
    <dgm:cxn modelId="{60F872E3-ABC7-F740-BC50-E62575714308}" type="presParOf" srcId="{F2D5CF2E-73FD-DF40-B486-5991201567C7}" destId="{7D23597D-7D45-6147-836D-9377BE83EB45}" srcOrd="1" destOrd="0" presId="urn:microsoft.com/office/officeart/2008/layout/HorizontalMultiLevelHierarchy"/>
    <dgm:cxn modelId="{7DC4AF7D-1FE8-814C-91B0-F2A2B0BF9194}" type="presParOf" srcId="{7D23597D-7D45-6147-836D-9377BE83EB45}" destId="{EFDD6FF7-05E1-3447-AB0D-066445AC021F}" srcOrd="0" destOrd="0" presId="urn:microsoft.com/office/officeart/2008/layout/HorizontalMultiLevelHierarchy"/>
    <dgm:cxn modelId="{116E6771-65FD-704A-B237-0693B0C3758A}" type="presParOf" srcId="{7D23597D-7D45-6147-836D-9377BE83EB45}" destId="{4D1467B8-D53B-DE4C-8478-726672054D82}" srcOrd="1" destOrd="0" presId="urn:microsoft.com/office/officeart/2008/layout/HorizontalMultiLevelHierarchy"/>
    <dgm:cxn modelId="{B0787983-81D5-304E-AC4C-8527CD2C8D5F}" type="presParOf" srcId="{F2D5CF2E-73FD-DF40-B486-5991201567C7}" destId="{6077DA98-B47F-2843-9C2B-8364DE8D8BF8}" srcOrd="2" destOrd="0" presId="urn:microsoft.com/office/officeart/2008/layout/HorizontalMultiLevelHierarchy"/>
    <dgm:cxn modelId="{4530A767-A8E9-8C41-98F2-12F926E0DF12}" type="presParOf" srcId="{6077DA98-B47F-2843-9C2B-8364DE8D8BF8}" destId="{F5687355-CFD4-A048-8F0D-2727F865D836}" srcOrd="0" destOrd="0" presId="urn:microsoft.com/office/officeart/2008/layout/HorizontalMultiLevelHierarchy"/>
    <dgm:cxn modelId="{E8698575-C3D0-C54F-B1C9-8DDA39C434B0}" type="presParOf" srcId="{F2D5CF2E-73FD-DF40-B486-5991201567C7}" destId="{D6024A1F-2968-B84C-BB5E-88FF3758ABF2}" srcOrd="3" destOrd="0" presId="urn:microsoft.com/office/officeart/2008/layout/HorizontalMultiLevelHierarchy"/>
    <dgm:cxn modelId="{EE6CEA8A-57DA-BA4F-9139-45FA994EC3F9}" type="presParOf" srcId="{D6024A1F-2968-B84C-BB5E-88FF3758ABF2}" destId="{E4C677CA-2070-524A-8B8F-356338D7F1F0}" srcOrd="0" destOrd="0" presId="urn:microsoft.com/office/officeart/2008/layout/HorizontalMultiLevelHierarchy"/>
    <dgm:cxn modelId="{93A8B9E2-30D9-FB44-8B7A-AEF92EF47FE3}" type="presParOf" srcId="{D6024A1F-2968-B84C-BB5E-88FF3758ABF2}" destId="{C2305661-996E-1E45-967B-86EE02F8612E}" srcOrd="1" destOrd="0" presId="urn:microsoft.com/office/officeart/2008/layout/HorizontalMultiLevelHierarchy"/>
    <dgm:cxn modelId="{779546E7-E007-5641-AFAF-807E6E52C919}" type="presParOf" srcId="{F2D5CF2E-73FD-DF40-B486-5991201567C7}" destId="{5EE5D264-1491-2A4A-BB7E-6DAE785C4AD6}" srcOrd="4" destOrd="0" presId="urn:microsoft.com/office/officeart/2008/layout/HorizontalMultiLevelHierarchy"/>
    <dgm:cxn modelId="{344F36EE-A158-BF46-9317-8A203775DC0B}" type="presParOf" srcId="{5EE5D264-1491-2A4A-BB7E-6DAE785C4AD6}" destId="{8972F5E9-1095-8D44-816E-45DE053F215F}" srcOrd="0" destOrd="0" presId="urn:microsoft.com/office/officeart/2008/layout/HorizontalMultiLevelHierarchy"/>
    <dgm:cxn modelId="{664C8187-D5BA-7148-B207-D100FC8BE246}" type="presParOf" srcId="{F2D5CF2E-73FD-DF40-B486-5991201567C7}" destId="{FB5007E8-E76E-AB4E-8328-22BA833F1329}" srcOrd="5" destOrd="0" presId="urn:microsoft.com/office/officeart/2008/layout/HorizontalMultiLevelHierarchy"/>
    <dgm:cxn modelId="{E6A2C11C-B935-864B-AFE3-09D4918BA247}" type="presParOf" srcId="{FB5007E8-E76E-AB4E-8328-22BA833F1329}" destId="{CA8B143F-4775-2649-B3D6-28DEA98AA7BF}" srcOrd="0" destOrd="0" presId="urn:microsoft.com/office/officeart/2008/layout/HorizontalMultiLevelHierarchy"/>
    <dgm:cxn modelId="{128CE335-E00E-BA4F-9175-0B4894DB564E}" type="presParOf" srcId="{FB5007E8-E76E-AB4E-8328-22BA833F1329}" destId="{4FE17F1B-0585-3643-80EB-BC25A69A808C}" srcOrd="1" destOrd="0" presId="urn:microsoft.com/office/officeart/2008/layout/HorizontalMultiLevelHierarchy"/>
    <dgm:cxn modelId="{10C7C7E6-A2DE-6A41-912B-E307D7607378}" type="presParOf" srcId="{F2D5CF2E-73FD-DF40-B486-5991201567C7}" destId="{A60092B5-6898-084F-AAC3-DAD18ABCFF4E}" srcOrd="6" destOrd="0" presId="urn:microsoft.com/office/officeart/2008/layout/HorizontalMultiLevelHierarchy"/>
    <dgm:cxn modelId="{3D258B66-5FAF-2149-8F98-8C88C3CE263D}" type="presParOf" srcId="{A60092B5-6898-084F-AAC3-DAD18ABCFF4E}" destId="{4DA4F428-C233-1A48-9DA3-CB10CF4B7EDF}" srcOrd="0" destOrd="0" presId="urn:microsoft.com/office/officeart/2008/layout/HorizontalMultiLevelHierarchy"/>
    <dgm:cxn modelId="{B993AE29-981F-8442-AC1E-4ADA3084DAB5}" type="presParOf" srcId="{F2D5CF2E-73FD-DF40-B486-5991201567C7}" destId="{3399B2DA-430E-F94F-AE57-6FFD68DEF42F}" srcOrd="7" destOrd="0" presId="urn:microsoft.com/office/officeart/2008/layout/HorizontalMultiLevelHierarchy"/>
    <dgm:cxn modelId="{BA52FF4E-8692-9D4C-BC58-2BAB41E10FD2}" type="presParOf" srcId="{3399B2DA-430E-F94F-AE57-6FFD68DEF42F}" destId="{D436739C-FFD7-1A49-8888-38D4708EDFBE}" srcOrd="0" destOrd="0" presId="urn:microsoft.com/office/officeart/2008/layout/HorizontalMultiLevelHierarchy"/>
    <dgm:cxn modelId="{EEA19FC7-C378-9E42-8B52-6AEA51542789}" type="presParOf" srcId="{3399B2DA-430E-F94F-AE57-6FFD68DEF42F}" destId="{331FEC50-B60D-8742-9FB2-1631191932F3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6E245E55-B968-F343-8B2E-FBE836E87B60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FA9BA4C-C1A8-FC46-AA71-4BCA782AF3AA}">
      <dgm:prSet phldrT="[Text]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 vert="vert"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r>
            <a:rPr lang="en-US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S</a:t>
          </a:r>
        </a:p>
        <a:p>
          <a:r>
            <a:rPr lang="en-US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E</a:t>
          </a:r>
        </a:p>
        <a:p>
          <a:r>
            <a:rPr lang="en-US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C</a:t>
          </a:r>
        </a:p>
        <a:p>
          <a:r>
            <a:rPr lang="en-US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U</a:t>
          </a:r>
        </a:p>
        <a:p>
          <a:r>
            <a:rPr lang="en-US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R</a:t>
          </a:r>
        </a:p>
        <a:p>
          <a:r>
            <a:rPr lang="en-US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I</a:t>
          </a:r>
        </a:p>
        <a:p>
          <a:r>
            <a:rPr lang="en-US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T</a:t>
          </a:r>
        </a:p>
        <a:p>
          <a:r>
            <a:rPr lang="en-US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Y</a:t>
          </a:r>
        </a:p>
      </dgm:t>
    </dgm:pt>
    <dgm:pt modelId="{3B6D508B-4E7C-EB44-B7C8-5DE76990B1C6}" type="parTrans" cxnId="{6098C676-2678-8948-8007-130FCD8DC15F}">
      <dgm:prSet/>
      <dgm:spPr/>
      <dgm:t>
        <a:bodyPr/>
        <a:lstStyle/>
        <a:p>
          <a:endParaRPr lang="en-US"/>
        </a:p>
      </dgm:t>
    </dgm:pt>
    <dgm:pt modelId="{7625E9D4-4DD1-D447-A65B-CAB762466FD8}" type="sibTrans" cxnId="{6098C676-2678-8948-8007-130FCD8DC15F}">
      <dgm:prSet/>
      <dgm:spPr/>
      <dgm:t>
        <a:bodyPr/>
        <a:lstStyle/>
        <a:p>
          <a:endParaRPr lang="en-US"/>
        </a:p>
      </dgm:t>
    </dgm:pt>
    <dgm:pt modelId="{5E60BC69-6DEC-5C41-9670-67FC6075604B}">
      <dgm:prSet phldrT="[Text]"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r>
            <a:rPr lang="en-US" sz="2200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Application layer</a:t>
          </a:r>
          <a:endParaRPr lang="en-US" sz="2200" b="1" cap="all" spc="0" dirty="0">
            <a:ln/>
            <a:solidFill>
              <a:srgbClr val="171515"/>
            </a:solidFill>
            <a:effectLst>
              <a:outerShdw blurRad="19685" dist="12700" dir="5400000" algn="tl" rotWithShape="0">
                <a:schemeClr val="accent1">
                  <a:satMod val="130000"/>
                  <a:alpha val="60000"/>
                </a:schemeClr>
              </a:outerShdw>
              <a:reflection blurRad="10000" stA="55000" endPos="48000" dist="500" dir="5400000" sy="-100000" algn="bl" rotWithShape="0"/>
            </a:effectLst>
          </a:endParaRPr>
        </a:p>
      </dgm:t>
    </dgm:pt>
    <dgm:pt modelId="{6B21B2F5-73AD-2945-B959-F817A3578F5E}" type="parTrans" cxnId="{B6F56B31-D73D-9048-B0B7-6A8B3008C441}">
      <dgm:prSet/>
      <dgm:spPr/>
      <dgm:t>
        <a:bodyPr/>
        <a:lstStyle/>
        <a:p>
          <a:endParaRPr lang="en-US"/>
        </a:p>
      </dgm:t>
    </dgm:pt>
    <dgm:pt modelId="{974BC5D6-7823-EC44-A284-72A2D14182DF}" type="sibTrans" cxnId="{B6F56B31-D73D-9048-B0B7-6A8B3008C441}">
      <dgm:prSet/>
      <dgm:spPr/>
      <dgm:t>
        <a:bodyPr/>
        <a:lstStyle/>
        <a:p>
          <a:endParaRPr lang="en-US"/>
        </a:p>
      </dgm:t>
    </dgm:pt>
    <dgm:pt modelId="{638EC5A2-5D1C-2140-B4E9-8BFAAC107188}">
      <dgm:prSet phldrT="[Text]"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r>
            <a:rPr lang="en-US" sz="2200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Network layer</a:t>
          </a:r>
          <a:endParaRPr lang="en-US" sz="2200" b="1" cap="all" spc="0" dirty="0">
            <a:ln/>
            <a:solidFill>
              <a:srgbClr val="171515"/>
            </a:solidFill>
            <a:effectLst>
              <a:outerShdw blurRad="19685" dist="12700" dir="5400000" algn="tl" rotWithShape="0">
                <a:schemeClr val="accent1">
                  <a:satMod val="130000"/>
                  <a:alpha val="60000"/>
                </a:schemeClr>
              </a:outerShdw>
              <a:reflection blurRad="10000" stA="55000" endPos="48000" dist="500" dir="5400000" sy="-100000" algn="bl" rotWithShape="0"/>
            </a:effectLst>
          </a:endParaRPr>
        </a:p>
      </dgm:t>
    </dgm:pt>
    <dgm:pt modelId="{1CB64F4F-FFC3-EF42-B89A-D2BCB134B963}" type="parTrans" cxnId="{38690B67-1FAA-2944-A4BC-037E11A1CFA3}">
      <dgm:prSet/>
      <dgm:spPr/>
      <dgm:t>
        <a:bodyPr/>
        <a:lstStyle/>
        <a:p>
          <a:endParaRPr lang="en-US"/>
        </a:p>
      </dgm:t>
    </dgm:pt>
    <dgm:pt modelId="{5483A9F2-058A-8D45-B1DF-6EDC678FF059}" type="sibTrans" cxnId="{38690B67-1FAA-2944-A4BC-037E11A1CFA3}">
      <dgm:prSet/>
      <dgm:spPr/>
      <dgm:t>
        <a:bodyPr/>
        <a:lstStyle/>
        <a:p>
          <a:endParaRPr lang="en-US"/>
        </a:p>
      </dgm:t>
    </dgm:pt>
    <dgm:pt modelId="{656FD449-C424-6D4A-9075-6655F3A516C0}">
      <dgm:prSet phldrT="[Text]"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r>
            <a:rPr lang="en-US" sz="2400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Wireless</a:t>
          </a:r>
          <a:endParaRPr lang="en-US" sz="2400" b="1" cap="all" spc="0" dirty="0">
            <a:ln/>
            <a:solidFill>
              <a:srgbClr val="171515"/>
            </a:solidFill>
            <a:effectLst>
              <a:outerShdw blurRad="19685" dist="12700" dir="5400000" algn="tl" rotWithShape="0">
                <a:schemeClr val="accent1">
                  <a:satMod val="130000"/>
                  <a:alpha val="60000"/>
                </a:schemeClr>
              </a:outerShdw>
              <a:reflection blurRad="10000" stA="55000" endPos="48000" dist="500" dir="5400000" sy="-100000" algn="bl" rotWithShape="0"/>
            </a:effectLst>
          </a:endParaRPr>
        </a:p>
      </dgm:t>
    </dgm:pt>
    <dgm:pt modelId="{D01C06F0-FE30-704E-A7BF-0DCEFA88B947}" type="parTrans" cxnId="{FC490324-F4FD-7649-9A20-B7ED12F63B69}">
      <dgm:prSet/>
      <dgm:spPr/>
      <dgm:t>
        <a:bodyPr/>
        <a:lstStyle/>
        <a:p>
          <a:endParaRPr lang="en-US"/>
        </a:p>
      </dgm:t>
    </dgm:pt>
    <dgm:pt modelId="{9C328740-4579-F949-90D4-0DF67D048938}" type="sibTrans" cxnId="{FC490324-F4FD-7649-9A20-B7ED12F63B69}">
      <dgm:prSet/>
      <dgm:spPr/>
      <dgm:t>
        <a:bodyPr/>
        <a:lstStyle/>
        <a:p>
          <a:endParaRPr lang="en-US"/>
        </a:p>
      </dgm:t>
    </dgm:pt>
    <dgm:pt modelId="{4B878F43-2FA9-314B-84B3-B2D00976D29D}">
      <dgm:prSet phldrT="[Text]"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r>
            <a:rPr lang="en-US" sz="2400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PCI DSS</a:t>
          </a:r>
          <a:endParaRPr lang="en-US" sz="2400" b="1" cap="all" spc="0" dirty="0">
            <a:ln/>
            <a:solidFill>
              <a:srgbClr val="171515"/>
            </a:solidFill>
            <a:effectLst>
              <a:outerShdw blurRad="19685" dist="12700" dir="5400000" algn="tl" rotWithShape="0">
                <a:schemeClr val="accent1">
                  <a:satMod val="130000"/>
                  <a:alpha val="60000"/>
                </a:schemeClr>
              </a:outerShdw>
              <a:reflection blurRad="10000" stA="55000" endPos="48000" dist="500" dir="5400000" sy="-100000" algn="bl" rotWithShape="0"/>
            </a:effectLst>
          </a:endParaRPr>
        </a:p>
      </dgm:t>
    </dgm:pt>
    <dgm:pt modelId="{F4FAB08B-3212-814B-9787-39F525426682}" type="parTrans" cxnId="{BB72A117-3385-E749-B082-7C95E2595889}">
      <dgm:prSet/>
      <dgm:spPr/>
      <dgm:t>
        <a:bodyPr/>
        <a:lstStyle/>
        <a:p>
          <a:endParaRPr lang="en-US"/>
        </a:p>
      </dgm:t>
    </dgm:pt>
    <dgm:pt modelId="{90D1A23D-DFC2-C646-A6FF-D17C5D4013B7}" type="sibTrans" cxnId="{BB72A117-3385-E749-B082-7C95E2595889}">
      <dgm:prSet/>
      <dgm:spPr/>
      <dgm:t>
        <a:bodyPr/>
        <a:lstStyle/>
        <a:p>
          <a:endParaRPr lang="en-US"/>
        </a:p>
      </dgm:t>
    </dgm:pt>
    <dgm:pt modelId="{91489E66-F407-B141-A984-346934AA0EE5}" type="pres">
      <dgm:prSet presAssocID="{6E245E55-B968-F343-8B2E-FBE836E87B60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11CEA44-AAEB-9842-BB37-51F9940598E3}" type="pres">
      <dgm:prSet presAssocID="{4FA9BA4C-C1A8-FC46-AA71-4BCA782AF3AA}" presName="root1" presStyleCnt="0"/>
      <dgm:spPr/>
    </dgm:pt>
    <dgm:pt modelId="{19A68A7C-00D8-044C-983E-D772DD470EA9}" type="pres">
      <dgm:prSet presAssocID="{4FA9BA4C-C1A8-FC46-AA71-4BCA782AF3AA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2D5CF2E-73FD-DF40-B486-5991201567C7}" type="pres">
      <dgm:prSet presAssocID="{4FA9BA4C-C1A8-FC46-AA71-4BCA782AF3AA}" presName="level2hierChild" presStyleCnt="0"/>
      <dgm:spPr/>
    </dgm:pt>
    <dgm:pt modelId="{E8EC22DD-3337-A648-9871-4DB7EF236BF9}" type="pres">
      <dgm:prSet presAssocID="{6B21B2F5-73AD-2945-B959-F817A3578F5E}" presName="conn2-1" presStyleLbl="parChTrans1D2" presStyleIdx="0" presStyleCnt="4"/>
      <dgm:spPr/>
      <dgm:t>
        <a:bodyPr/>
        <a:lstStyle/>
        <a:p>
          <a:endParaRPr lang="en-US"/>
        </a:p>
      </dgm:t>
    </dgm:pt>
    <dgm:pt modelId="{BB568FAA-135C-6C48-ADCE-38F186FB9FAA}" type="pres">
      <dgm:prSet presAssocID="{6B21B2F5-73AD-2945-B959-F817A3578F5E}" presName="connTx" presStyleLbl="parChTrans1D2" presStyleIdx="0" presStyleCnt="4"/>
      <dgm:spPr/>
      <dgm:t>
        <a:bodyPr/>
        <a:lstStyle/>
        <a:p>
          <a:endParaRPr lang="en-US"/>
        </a:p>
      </dgm:t>
    </dgm:pt>
    <dgm:pt modelId="{7D23597D-7D45-6147-836D-9377BE83EB45}" type="pres">
      <dgm:prSet presAssocID="{5E60BC69-6DEC-5C41-9670-67FC6075604B}" presName="root2" presStyleCnt="0"/>
      <dgm:spPr/>
    </dgm:pt>
    <dgm:pt modelId="{EFDD6FF7-05E1-3447-AB0D-066445AC021F}" type="pres">
      <dgm:prSet presAssocID="{5E60BC69-6DEC-5C41-9670-67FC6075604B}" presName="LevelTwoTextNode" presStyleLbl="node2" presStyleIdx="0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D1467B8-D53B-DE4C-8478-726672054D82}" type="pres">
      <dgm:prSet presAssocID="{5E60BC69-6DEC-5C41-9670-67FC6075604B}" presName="level3hierChild" presStyleCnt="0"/>
      <dgm:spPr/>
    </dgm:pt>
    <dgm:pt modelId="{6077DA98-B47F-2843-9C2B-8364DE8D8BF8}" type="pres">
      <dgm:prSet presAssocID="{1CB64F4F-FFC3-EF42-B89A-D2BCB134B963}" presName="conn2-1" presStyleLbl="parChTrans1D2" presStyleIdx="1" presStyleCnt="4"/>
      <dgm:spPr/>
      <dgm:t>
        <a:bodyPr/>
        <a:lstStyle/>
        <a:p>
          <a:endParaRPr lang="en-US"/>
        </a:p>
      </dgm:t>
    </dgm:pt>
    <dgm:pt modelId="{F5687355-CFD4-A048-8F0D-2727F865D836}" type="pres">
      <dgm:prSet presAssocID="{1CB64F4F-FFC3-EF42-B89A-D2BCB134B963}" presName="connTx" presStyleLbl="parChTrans1D2" presStyleIdx="1" presStyleCnt="4"/>
      <dgm:spPr/>
      <dgm:t>
        <a:bodyPr/>
        <a:lstStyle/>
        <a:p>
          <a:endParaRPr lang="en-US"/>
        </a:p>
      </dgm:t>
    </dgm:pt>
    <dgm:pt modelId="{D6024A1F-2968-B84C-BB5E-88FF3758ABF2}" type="pres">
      <dgm:prSet presAssocID="{638EC5A2-5D1C-2140-B4E9-8BFAAC107188}" presName="root2" presStyleCnt="0"/>
      <dgm:spPr/>
    </dgm:pt>
    <dgm:pt modelId="{E4C677CA-2070-524A-8B8F-356338D7F1F0}" type="pres">
      <dgm:prSet presAssocID="{638EC5A2-5D1C-2140-B4E9-8BFAAC107188}" presName="LevelTwoTextNode" presStyleLbl="node2" presStyleIdx="1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2305661-996E-1E45-967B-86EE02F8612E}" type="pres">
      <dgm:prSet presAssocID="{638EC5A2-5D1C-2140-B4E9-8BFAAC107188}" presName="level3hierChild" presStyleCnt="0"/>
      <dgm:spPr/>
    </dgm:pt>
    <dgm:pt modelId="{5EE5D264-1491-2A4A-BB7E-6DAE785C4AD6}" type="pres">
      <dgm:prSet presAssocID="{D01C06F0-FE30-704E-A7BF-0DCEFA88B947}" presName="conn2-1" presStyleLbl="parChTrans1D2" presStyleIdx="2" presStyleCnt="4"/>
      <dgm:spPr/>
      <dgm:t>
        <a:bodyPr/>
        <a:lstStyle/>
        <a:p>
          <a:endParaRPr lang="en-US"/>
        </a:p>
      </dgm:t>
    </dgm:pt>
    <dgm:pt modelId="{8972F5E9-1095-8D44-816E-45DE053F215F}" type="pres">
      <dgm:prSet presAssocID="{D01C06F0-FE30-704E-A7BF-0DCEFA88B947}" presName="connTx" presStyleLbl="parChTrans1D2" presStyleIdx="2" presStyleCnt="4"/>
      <dgm:spPr/>
      <dgm:t>
        <a:bodyPr/>
        <a:lstStyle/>
        <a:p>
          <a:endParaRPr lang="en-US"/>
        </a:p>
      </dgm:t>
    </dgm:pt>
    <dgm:pt modelId="{FB5007E8-E76E-AB4E-8328-22BA833F1329}" type="pres">
      <dgm:prSet presAssocID="{656FD449-C424-6D4A-9075-6655F3A516C0}" presName="root2" presStyleCnt="0"/>
      <dgm:spPr/>
    </dgm:pt>
    <dgm:pt modelId="{CA8B143F-4775-2649-B3D6-28DEA98AA7BF}" type="pres">
      <dgm:prSet presAssocID="{656FD449-C424-6D4A-9075-6655F3A516C0}" presName="LevelTwoTextNode" presStyleLbl="node2" presStyleIdx="2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FE17F1B-0585-3643-80EB-BC25A69A808C}" type="pres">
      <dgm:prSet presAssocID="{656FD449-C424-6D4A-9075-6655F3A516C0}" presName="level3hierChild" presStyleCnt="0"/>
      <dgm:spPr/>
    </dgm:pt>
    <dgm:pt modelId="{A60092B5-6898-084F-AAC3-DAD18ABCFF4E}" type="pres">
      <dgm:prSet presAssocID="{F4FAB08B-3212-814B-9787-39F525426682}" presName="conn2-1" presStyleLbl="parChTrans1D2" presStyleIdx="3" presStyleCnt="4"/>
      <dgm:spPr/>
      <dgm:t>
        <a:bodyPr/>
        <a:lstStyle/>
        <a:p>
          <a:endParaRPr lang="en-US"/>
        </a:p>
      </dgm:t>
    </dgm:pt>
    <dgm:pt modelId="{4DA4F428-C233-1A48-9DA3-CB10CF4B7EDF}" type="pres">
      <dgm:prSet presAssocID="{F4FAB08B-3212-814B-9787-39F525426682}" presName="connTx" presStyleLbl="parChTrans1D2" presStyleIdx="3" presStyleCnt="4"/>
      <dgm:spPr/>
      <dgm:t>
        <a:bodyPr/>
        <a:lstStyle/>
        <a:p>
          <a:endParaRPr lang="en-US"/>
        </a:p>
      </dgm:t>
    </dgm:pt>
    <dgm:pt modelId="{3399B2DA-430E-F94F-AE57-6FFD68DEF42F}" type="pres">
      <dgm:prSet presAssocID="{4B878F43-2FA9-314B-84B3-B2D00976D29D}" presName="root2" presStyleCnt="0"/>
      <dgm:spPr/>
    </dgm:pt>
    <dgm:pt modelId="{D436739C-FFD7-1A49-8888-38D4708EDFBE}" type="pres">
      <dgm:prSet presAssocID="{4B878F43-2FA9-314B-84B3-B2D00976D29D}" presName="LevelTwoTextNode" presStyleLbl="node2" presStyleIdx="3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31FEC50-B60D-8742-9FB2-1631191932F3}" type="pres">
      <dgm:prSet presAssocID="{4B878F43-2FA9-314B-84B3-B2D00976D29D}" presName="level3hierChild" presStyleCnt="0"/>
      <dgm:spPr/>
    </dgm:pt>
  </dgm:ptLst>
  <dgm:cxnLst>
    <dgm:cxn modelId="{0722A376-C072-5547-937D-11FD6F836B3C}" type="presOf" srcId="{4B878F43-2FA9-314B-84B3-B2D00976D29D}" destId="{D436739C-FFD7-1A49-8888-38D4708EDFBE}" srcOrd="0" destOrd="0" presId="urn:microsoft.com/office/officeart/2008/layout/HorizontalMultiLevelHierarchy"/>
    <dgm:cxn modelId="{2834A004-AA60-BB46-BE89-A368D9C13A70}" type="presOf" srcId="{D01C06F0-FE30-704E-A7BF-0DCEFA88B947}" destId="{5EE5D264-1491-2A4A-BB7E-6DAE785C4AD6}" srcOrd="0" destOrd="0" presId="urn:microsoft.com/office/officeart/2008/layout/HorizontalMultiLevelHierarchy"/>
    <dgm:cxn modelId="{B6F56B31-D73D-9048-B0B7-6A8B3008C441}" srcId="{4FA9BA4C-C1A8-FC46-AA71-4BCA782AF3AA}" destId="{5E60BC69-6DEC-5C41-9670-67FC6075604B}" srcOrd="0" destOrd="0" parTransId="{6B21B2F5-73AD-2945-B959-F817A3578F5E}" sibTransId="{974BC5D6-7823-EC44-A284-72A2D14182DF}"/>
    <dgm:cxn modelId="{01016E93-D13C-4B46-A3C5-C91D7653C572}" type="presOf" srcId="{6B21B2F5-73AD-2945-B959-F817A3578F5E}" destId="{E8EC22DD-3337-A648-9871-4DB7EF236BF9}" srcOrd="0" destOrd="0" presId="urn:microsoft.com/office/officeart/2008/layout/HorizontalMultiLevelHierarchy"/>
    <dgm:cxn modelId="{B8DDB309-1671-8043-BA1A-B71CF2F66BB6}" type="presOf" srcId="{4FA9BA4C-C1A8-FC46-AA71-4BCA782AF3AA}" destId="{19A68A7C-00D8-044C-983E-D772DD470EA9}" srcOrd="0" destOrd="0" presId="urn:microsoft.com/office/officeart/2008/layout/HorizontalMultiLevelHierarchy"/>
    <dgm:cxn modelId="{38690B67-1FAA-2944-A4BC-037E11A1CFA3}" srcId="{4FA9BA4C-C1A8-FC46-AA71-4BCA782AF3AA}" destId="{638EC5A2-5D1C-2140-B4E9-8BFAAC107188}" srcOrd="1" destOrd="0" parTransId="{1CB64F4F-FFC3-EF42-B89A-D2BCB134B963}" sibTransId="{5483A9F2-058A-8D45-B1DF-6EDC678FF059}"/>
    <dgm:cxn modelId="{ADF709D7-7CFC-E14D-973E-AC3A354B5239}" type="presOf" srcId="{656FD449-C424-6D4A-9075-6655F3A516C0}" destId="{CA8B143F-4775-2649-B3D6-28DEA98AA7BF}" srcOrd="0" destOrd="0" presId="urn:microsoft.com/office/officeart/2008/layout/HorizontalMultiLevelHierarchy"/>
    <dgm:cxn modelId="{02AFB67F-BC4E-3B49-AE3E-D8A9CEB67E17}" type="presOf" srcId="{1CB64F4F-FFC3-EF42-B89A-D2BCB134B963}" destId="{F5687355-CFD4-A048-8F0D-2727F865D836}" srcOrd="1" destOrd="0" presId="urn:microsoft.com/office/officeart/2008/layout/HorizontalMultiLevelHierarchy"/>
    <dgm:cxn modelId="{C255D1E7-2BD5-3A44-A9A3-13F3DDE12CC2}" type="presOf" srcId="{5E60BC69-6DEC-5C41-9670-67FC6075604B}" destId="{EFDD6FF7-05E1-3447-AB0D-066445AC021F}" srcOrd="0" destOrd="0" presId="urn:microsoft.com/office/officeart/2008/layout/HorizontalMultiLevelHierarchy"/>
    <dgm:cxn modelId="{A33A9666-94DC-F44D-BE1A-3A461720B12A}" type="presOf" srcId="{1CB64F4F-FFC3-EF42-B89A-D2BCB134B963}" destId="{6077DA98-B47F-2843-9C2B-8364DE8D8BF8}" srcOrd="0" destOrd="0" presId="urn:microsoft.com/office/officeart/2008/layout/HorizontalMultiLevelHierarchy"/>
    <dgm:cxn modelId="{FC490324-F4FD-7649-9A20-B7ED12F63B69}" srcId="{4FA9BA4C-C1A8-FC46-AA71-4BCA782AF3AA}" destId="{656FD449-C424-6D4A-9075-6655F3A516C0}" srcOrd="2" destOrd="0" parTransId="{D01C06F0-FE30-704E-A7BF-0DCEFA88B947}" sibTransId="{9C328740-4579-F949-90D4-0DF67D048938}"/>
    <dgm:cxn modelId="{63F85B3B-674B-C54F-BF0C-4D256E0A948D}" type="presOf" srcId="{F4FAB08B-3212-814B-9787-39F525426682}" destId="{4DA4F428-C233-1A48-9DA3-CB10CF4B7EDF}" srcOrd="1" destOrd="0" presId="urn:microsoft.com/office/officeart/2008/layout/HorizontalMultiLevelHierarchy"/>
    <dgm:cxn modelId="{ADC6648A-859C-F142-B794-E48E75C6B814}" type="presOf" srcId="{F4FAB08B-3212-814B-9787-39F525426682}" destId="{A60092B5-6898-084F-AAC3-DAD18ABCFF4E}" srcOrd="0" destOrd="0" presId="urn:microsoft.com/office/officeart/2008/layout/HorizontalMultiLevelHierarchy"/>
    <dgm:cxn modelId="{6098C676-2678-8948-8007-130FCD8DC15F}" srcId="{6E245E55-B968-F343-8B2E-FBE836E87B60}" destId="{4FA9BA4C-C1A8-FC46-AA71-4BCA782AF3AA}" srcOrd="0" destOrd="0" parTransId="{3B6D508B-4E7C-EB44-B7C8-5DE76990B1C6}" sibTransId="{7625E9D4-4DD1-D447-A65B-CAB762466FD8}"/>
    <dgm:cxn modelId="{BB72A117-3385-E749-B082-7C95E2595889}" srcId="{4FA9BA4C-C1A8-FC46-AA71-4BCA782AF3AA}" destId="{4B878F43-2FA9-314B-84B3-B2D00976D29D}" srcOrd="3" destOrd="0" parTransId="{F4FAB08B-3212-814B-9787-39F525426682}" sibTransId="{90D1A23D-DFC2-C646-A6FF-D17C5D4013B7}"/>
    <dgm:cxn modelId="{B214EE60-1E82-BF44-9AF5-7CF10A857549}" type="presOf" srcId="{D01C06F0-FE30-704E-A7BF-0DCEFA88B947}" destId="{8972F5E9-1095-8D44-816E-45DE053F215F}" srcOrd="1" destOrd="0" presId="urn:microsoft.com/office/officeart/2008/layout/HorizontalMultiLevelHierarchy"/>
    <dgm:cxn modelId="{B59659A2-E446-9C4A-86ED-28B1F13C9747}" type="presOf" srcId="{638EC5A2-5D1C-2140-B4E9-8BFAAC107188}" destId="{E4C677CA-2070-524A-8B8F-356338D7F1F0}" srcOrd="0" destOrd="0" presId="urn:microsoft.com/office/officeart/2008/layout/HorizontalMultiLevelHierarchy"/>
    <dgm:cxn modelId="{3AA66C63-B478-1242-B858-6A991921D7A3}" type="presOf" srcId="{6B21B2F5-73AD-2945-B959-F817A3578F5E}" destId="{BB568FAA-135C-6C48-ADCE-38F186FB9FAA}" srcOrd="1" destOrd="0" presId="urn:microsoft.com/office/officeart/2008/layout/HorizontalMultiLevelHierarchy"/>
    <dgm:cxn modelId="{BD1FF822-3F6C-2B4C-AF96-1E314F3D3F59}" type="presOf" srcId="{6E245E55-B968-F343-8B2E-FBE836E87B60}" destId="{91489E66-F407-B141-A984-346934AA0EE5}" srcOrd="0" destOrd="0" presId="urn:microsoft.com/office/officeart/2008/layout/HorizontalMultiLevelHierarchy"/>
    <dgm:cxn modelId="{94F451CB-24AC-AD4E-8031-C1ADDCE448D9}" type="presParOf" srcId="{91489E66-F407-B141-A984-346934AA0EE5}" destId="{D11CEA44-AAEB-9842-BB37-51F9940598E3}" srcOrd="0" destOrd="0" presId="urn:microsoft.com/office/officeart/2008/layout/HorizontalMultiLevelHierarchy"/>
    <dgm:cxn modelId="{8DD63E96-2EA5-4145-9B50-AC45DDBA13B2}" type="presParOf" srcId="{D11CEA44-AAEB-9842-BB37-51F9940598E3}" destId="{19A68A7C-00D8-044C-983E-D772DD470EA9}" srcOrd="0" destOrd="0" presId="urn:microsoft.com/office/officeart/2008/layout/HorizontalMultiLevelHierarchy"/>
    <dgm:cxn modelId="{5FED50E0-584C-0D43-8140-902E951C02A0}" type="presParOf" srcId="{D11CEA44-AAEB-9842-BB37-51F9940598E3}" destId="{F2D5CF2E-73FD-DF40-B486-5991201567C7}" srcOrd="1" destOrd="0" presId="urn:microsoft.com/office/officeart/2008/layout/HorizontalMultiLevelHierarchy"/>
    <dgm:cxn modelId="{89C91227-775B-F145-BC6B-BF6021C709EA}" type="presParOf" srcId="{F2D5CF2E-73FD-DF40-B486-5991201567C7}" destId="{E8EC22DD-3337-A648-9871-4DB7EF236BF9}" srcOrd="0" destOrd="0" presId="urn:microsoft.com/office/officeart/2008/layout/HorizontalMultiLevelHierarchy"/>
    <dgm:cxn modelId="{6521E3BC-F60D-8347-815E-CAAE02E20970}" type="presParOf" srcId="{E8EC22DD-3337-A648-9871-4DB7EF236BF9}" destId="{BB568FAA-135C-6C48-ADCE-38F186FB9FAA}" srcOrd="0" destOrd="0" presId="urn:microsoft.com/office/officeart/2008/layout/HorizontalMultiLevelHierarchy"/>
    <dgm:cxn modelId="{B3419F56-47B8-F14C-ACCC-73EAEF97BF62}" type="presParOf" srcId="{F2D5CF2E-73FD-DF40-B486-5991201567C7}" destId="{7D23597D-7D45-6147-836D-9377BE83EB45}" srcOrd="1" destOrd="0" presId="urn:microsoft.com/office/officeart/2008/layout/HorizontalMultiLevelHierarchy"/>
    <dgm:cxn modelId="{DFE8BB3E-9215-C444-813C-BC7182350D46}" type="presParOf" srcId="{7D23597D-7D45-6147-836D-9377BE83EB45}" destId="{EFDD6FF7-05E1-3447-AB0D-066445AC021F}" srcOrd="0" destOrd="0" presId="urn:microsoft.com/office/officeart/2008/layout/HorizontalMultiLevelHierarchy"/>
    <dgm:cxn modelId="{D4322B8B-FE62-CF43-9562-47B3CFC1C478}" type="presParOf" srcId="{7D23597D-7D45-6147-836D-9377BE83EB45}" destId="{4D1467B8-D53B-DE4C-8478-726672054D82}" srcOrd="1" destOrd="0" presId="urn:microsoft.com/office/officeart/2008/layout/HorizontalMultiLevelHierarchy"/>
    <dgm:cxn modelId="{7062A3F8-8F75-EB44-9655-1E5D192AF25A}" type="presParOf" srcId="{F2D5CF2E-73FD-DF40-B486-5991201567C7}" destId="{6077DA98-B47F-2843-9C2B-8364DE8D8BF8}" srcOrd="2" destOrd="0" presId="urn:microsoft.com/office/officeart/2008/layout/HorizontalMultiLevelHierarchy"/>
    <dgm:cxn modelId="{3A59376E-E13C-1A4C-8221-86EEAB1FE50F}" type="presParOf" srcId="{6077DA98-B47F-2843-9C2B-8364DE8D8BF8}" destId="{F5687355-CFD4-A048-8F0D-2727F865D836}" srcOrd="0" destOrd="0" presId="urn:microsoft.com/office/officeart/2008/layout/HorizontalMultiLevelHierarchy"/>
    <dgm:cxn modelId="{D63D3754-A7B4-7844-83EA-BAB936CAEA89}" type="presParOf" srcId="{F2D5CF2E-73FD-DF40-B486-5991201567C7}" destId="{D6024A1F-2968-B84C-BB5E-88FF3758ABF2}" srcOrd="3" destOrd="0" presId="urn:microsoft.com/office/officeart/2008/layout/HorizontalMultiLevelHierarchy"/>
    <dgm:cxn modelId="{76F839B0-4D00-FA4F-A7CD-6423A9B4609F}" type="presParOf" srcId="{D6024A1F-2968-B84C-BB5E-88FF3758ABF2}" destId="{E4C677CA-2070-524A-8B8F-356338D7F1F0}" srcOrd="0" destOrd="0" presId="urn:microsoft.com/office/officeart/2008/layout/HorizontalMultiLevelHierarchy"/>
    <dgm:cxn modelId="{F0350D30-F9F7-C848-8EAD-BB18C1E66A51}" type="presParOf" srcId="{D6024A1F-2968-B84C-BB5E-88FF3758ABF2}" destId="{C2305661-996E-1E45-967B-86EE02F8612E}" srcOrd="1" destOrd="0" presId="urn:microsoft.com/office/officeart/2008/layout/HorizontalMultiLevelHierarchy"/>
    <dgm:cxn modelId="{65D4E573-13D9-C848-9ACB-36A2EC68D0B5}" type="presParOf" srcId="{F2D5CF2E-73FD-DF40-B486-5991201567C7}" destId="{5EE5D264-1491-2A4A-BB7E-6DAE785C4AD6}" srcOrd="4" destOrd="0" presId="urn:microsoft.com/office/officeart/2008/layout/HorizontalMultiLevelHierarchy"/>
    <dgm:cxn modelId="{961A4084-4AF9-9047-9C41-136F13B09DE7}" type="presParOf" srcId="{5EE5D264-1491-2A4A-BB7E-6DAE785C4AD6}" destId="{8972F5E9-1095-8D44-816E-45DE053F215F}" srcOrd="0" destOrd="0" presId="urn:microsoft.com/office/officeart/2008/layout/HorizontalMultiLevelHierarchy"/>
    <dgm:cxn modelId="{36306072-A6ED-0B4E-96E8-DC5D809A31D6}" type="presParOf" srcId="{F2D5CF2E-73FD-DF40-B486-5991201567C7}" destId="{FB5007E8-E76E-AB4E-8328-22BA833F1329}" srcOrd="5" destOrd="0" presId="urn:microsoft.com/office/officeart/2008/layout/HorizontalMultiLevelHierarchy"/>
    <dgm:cxn modelId="{A7F0D073-2D60-554B-9186-247989E60CE0}" type="presParOf" srcId="{FB5007E8-E76E-AB4E-8328-22BA833F1329}" destId="{CA8B143F-4775-2649-B3D6-28DEA98AA7BF}" srcOrd="0" destOrd="0" presId="urn:microsoft.com/office/officeart/2008/layout/HorizontalMultiLevelHierarchy"/>
    <dgm:cxn modelId="{FC19D70B-61EB-9E4A-893E-6FB1457DCE24}" type="presParOf" srcId="{FB5007E8-E76E-AB4E-8328-22BA833F1329}" destId="{4FE17F1B-0585-3643-80EB-BC25A69A808C}" srcOrd="1" destOrd="0" presId="urn:microsoft.com/office/officeart/2008/layout/HorizontalMultiLevelHierarchy"/>
    <dgm:cxn modelId="{742E90F4-2424-7141-88FA-0BD7CEF35373}" type="presParOf" srcId="{F2D5CF2E-73FD-DF40-B486-5991201567C7}" destId="{A60092B5-6898-084F-AAC3-DAD18ABCFF4E}" srcOrd="6" destOrd="0" presId="urn:microsoft.com/office/officeart/2008/layout/HorizontalMultiLevelHierarchy"/>
    <dgm:cxn modelId="{FD180A08-1835-B34B-B839-C190E4704874}" type="presParOf" srcId="{A60092B5-6898-084F-AAC3-DAD18ABCFF4E}" destId="{4DA4F428-C233-1A48-9DA3-CB10CF4B7EDF}" srcOrd="0" destOrd="0" presId="urn:microsoft.com/office/officeart/2008/layout/HorizontalMultiLevelHierarchy"/>
    <dgm:cxn modelId="{36D759D9-311B-A444-A6E0-64B8D6386808}" type="presParOf" srcId="{F2D5CF2E-73FD-DF40-B486-5991201567C7}" destId="{3399B2DA-430E-F94F-AE57-6FFD68DEF42F}" srcOrd="7" destOrd="0" presId="urn:microsoft.com/office/officeart/2008/layout/HorizontalMultiLevelHierarchy"/>
    <dgm:cxn modelId="{FCC10F64-9AAD-9044-A7A8-6202A0A3DDB1}" type="presParOf" srcId="{3399B2DA-430E-F94F-AE57-6FFD68DEF42F}" destId="{D436739C-FFD7-1A49-8888-38D4708EDFBE}" srcOrd="0" destOrd="0" presId="urn:microsoft.com/office/officeart/2008/layout/HorizontalMultiLevelHierarchy"/>
    <dgm:cxn modelId="{CBAC4AE8-94AE-5B45-9C12-B14144E55A27}" type="presParOf" srcId="{3399B2DA-430E-F94F-AE57-6FFD68DEF42F}" destId="{331FEC50-B60D-8742-9FB2-1631191932F3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5FEED10F-689E-CA44-8C18-36A00BD120A7}" type="doc">
      <dgm:prSet loTypeId="urn:microsoft.com/office/officeart/2005/8/layout/orgChart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BB57F14-8103-AF42-8798-189A4D0F4753}">
      <dgm:prSet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pPr rtl="0"/>
          <a:r>
            <a:rPr lang="en-US" sz="3000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OWASP ASVS 2.0/3.0</a:t>
          </a:r>
          <a:endParaRPr lang="en-US" sz="3000" b="1" cap="all" spc="0" dirty="0">
            <a:ln/>
            <a:solidFill>
              <a:srgbClr val="171515"/>
            </a:solidFill>
            <a:effectLst>
              <a:outerShdw blurRad="19685" dist="12700" dir="5400000" algn="tl" rotWithShape="0">
                <a:schemeClr val="accent1">
                  <a:satMod val="130000"/>
                  <a:alpha val="60000"/>
                </a:schemeClr>
              </a:outerShdw>
              <a:reflection blurRad="10000" stA="55000" endPos="48000" dist="500" dir="5400000" sy="-100000" algn="bl" rotWithShape="0"/>
            </a:effectLst>
          </a:endParaRPr>
        </a:p>
      </dgm:t>
    </dgm:pt>
    <dgm:pt modelId="{B560DD5E-1ED8-A446-8B42-5863E06FF956}" type="parTrans" cxnId="{8DDA46A5-13E1-904E-961E-E3BA9F82B9EE}">
      <dgm:prSet/>
      <dgm:spPr/>
      <dgm:t>
        <a:bodyPr/>
        <a:lstStyle/>
        <a:p>
          <a:endParaRPr lang="en-US"/>
        </a:p>
      </dgm:t>
    </dgm:pt>
    <dgm:pt modelId="{70F3E76B-BD2C-A248-B19A-BB03E04C2788}" type="sibTrans" cxnId="{8DDA46A5-13E1-904E-961E-E3BA9F82B9EE}">
      <dgm:prSet/>
      <dgm:spPr/>
      <dgm:t>
        <a:bodyPr/>
        <a:lstStyle/>
        <a:p>
          <a:endParaRPr lang="en-US"/>
        </a:p>
      </dgm:t>
    </dgm:pt>
    <dgm:pt modelId="{7348B28A-A7DB-CD4D-8E15-6B1BC491FDB9}">
      <dgm:prSet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pPr rtl="0"/>
          <a:r>
            <a:rPr lang="en-US" sz="2600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OWASP Top 10 </a:t>
          </a:r>
          <a:br>
            <a:rPr lang="en-US" sz="2600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</a:br>
          <a:r>
            <a:rPr lang="en-US" sz="2600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(Web applications</a:t>
          </a:r>
          <a:br>
            <a:rPr lang="en-US" sz="2600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</a:br>
          <a:r>
            <a:rPr lang="en-US" sz="2600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Web services)</a:t>
          </a:r>
          <a:endParaRPr lang="en-US" sz="2600" b="1" cap="all" spc="0" dirty="0">
            <a:ln/>
            <a:solidFill>
              <a:srgbClr val="171515"/>
            </a:solidFill>
            <a:effectLst>
              <a:outerShdw blurRad="19685" dist="12700" dir="5400000" algn="tl" rotWithShape="0">
                <a:schemeClr val="accent1">
                  <a:satMod val="130000"/>
                  <a:alpha val="60000"/>
                </a:schemeClr>
              </a:outerShdw>
              <a:reflection blurRad="10000" stA="55000" endPos="48000" dist="500" dir="5400000" sy="-100000" algn="bl" rotWithShape="0"/>
            </a:effectLst>
          </a:endParaRPr>
        </a:p>
      </dgm:t>
    </dgm:pt>
    <dgm:pt modelId="{C059233A-827A-1947-AEBC-7CB1CB7EA347}" type="parTrans" cxnId="{4FA1BA3C-397C-B34C-9920-7738CF9B4817}">
      <dgm:prSet/>
      <dgm:spPr/>
      <dgm:t>
        <a:bodyPr/>
        <a:lstStyle/>
        <a:p>
          <a:endParaRPr lang="en-US"/>
        </a:p>
      </dgm:t>
    </dgm:pt>
    <dgm:pt modelId="{C06830DE-FF71-D646-A3B6-872A8A702422}" type="sibTrans" cxnId="{4FA1BA3C-397C-B34C-9920-7738CF9B4817}">
      <dgm:prSet/>
      <dgm:spPr/>
      <dgm:t>
        <a:bodyPr/>
        <a:lstStyle/>
        <a:p>
          <a:endParaRPr lang="en-US"/>
        </a:p>
      </dgm:t>
    </dgm:pt>
    <dgm:pt modelId="{D90591BF-5848-D044-9FCB-3EB2A2ECB2D7}">
      <dgm:prSet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pPr rtl="0"/>
          <a:r>
            <a:rPr lang="en-US" sz="2600" b="1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The OWASP Code Review Top 9</a:t>
          </a:r>
          <a:endParaRPr lang="en-US" sz="2600" b="1" cap="all" spc="0" dirty="0">
            <a:ln/>
            <a:solidFill>
              <a:srgbClr val="171515"/>
            </a:solidFill>
            <a:effectLst>
              <a:outerShdw blurRad="19685" dist="12700" dir="5400000" algn="tl" rotWithShape="0">
                <a:schemeClr val="accent1">
                  <a:satMod val="130000"/>
                  <a:alpha val="60000"/>
                </a:schemeClr>
              </a:outerShdw>
              <a:reflection blurRad="10000" stA="55000" endPos="48000" dist="500" dir="5400000" sy="-100000" algn="bl" rotWithShape="0"/>
            </a:effectLst>
          </a:endParaRPr>
        </a:p>
      </dgm:t>
    </dgm:pt>
    <dgm:pt modelId="{48EE978C-F6C3-FC43-B835-6DA97D47EBB5}" type="parTrans" cxnId="{F52D5E5D-577C-2249-B683-40FA0717E642}">
      <dgm:prSet/>
      <dgm:spPr/>
      <dgm:t>
        <a:bodyPr/>
        <a:lstStyle/>
        <a:p>
          <a:endParaRPr lang="en-US"/>
        </a:p>
      </dgm:t>
    </dgm:pt>
    <dgm:pt modelId="{FD7065C0-F816-6F45-8EE8-A09A5F9597C7}" type="sibTrans" cxnId="{F52D5E5D-577C-2249-B683-40FA0717E642}">
      <dgm:prSet/>
      <dgm:spPr/>
      <dgm:t>
        <a:bodyPr/>
        <a:lstStyle/>
        <a:p>
          <a:endParaRPr lang="en-US"/>
        </a:p>
      </dgm:t>
    </dgm:pt>
    <dgm:pt modelId="{67098E15-2C05-C848-881C-3ECC25E1A7DF}" type="pres">
      <dgm:prSet presAssocID="{5FEED10F-689E-CA44-8C18-36A00BD120A7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76CB079B-621D-5A45-BFD2-8159333AA155}" type="pres">
      <dgm:prSet presAssocID="{BBB57F14-8103-AF42-8798-189A4D0F4753}" presName="hierRoot1" presStyleCnt="0">
        <dgm:presLayoutVars>
          <dgm:hierBranch val="init"/>
        </dgm:presLayoutVars>
      </dgm:prSet>
      <dgm:spPr/>
    </dgm:pt>
    <dgm:pt modelId="{27AA86EC-4AE4-D744-9468-E43A1FE042EB}" type="pres">
      <dgm:prSet presAssocID="{BBB57F14-8103-AF42-8798-189A4D0F4753}" presName="rootComposite1" presStyleCnt="0"/>
      <dgm:spPr/>
    </dgm:pt>
    <dgm:pt modelId="{7BD4B7F1-7568-5D4D-A6DA-1183CFC69214}" type="pres">
      <dgm:prSet presAssocID="{BBB57F14-8103-AF42-8798-189A4D0F4753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5E94A58-E482-8B43-8352-1EA9BC0BF826}" type="pres">
      <dgm:prSet presAssocID="{BBB57F14-8103-AF42-8798-189A4D0F4753}" presName="rootConnector1" presStyleLbl="node1" presStyleIdx="0" presStyleCnt="0"/>
      <dgm:spPr/>
      <dgm:t>
        <a:bodyPr/>
        <a:lstStyle/>
        <a:p>
          <a:endParaRPr lang="en-US"/>
        </a:p>
      </dgm:t>
    </dgm:pt>
    <dgm:pt modelId="{6E84761C-B928-9F4F-B992-FC003C52A52B}" type="pres">
      <dgm:prSet presAssocID="{BBB57F14-8103-AF42-8798-189A4D0F4753}" presName="hierChild2" presStyleCnt="0"/>
      <dgm:spPr/>
    </dgm:pt>
    <dgm:pt modelId="{39ADB8BD-7333-F54D-8076-2437A88D2A0B}" type="pres">
      <dgm:prSet presAssocID="{C059233A-827A-1947-AEBC-7CB1CB7EA347}" presName="Name37" presStyleLbl="parChTrans1D2" presStyleIdx="0" presStyleCnt="2"/>
      <dgm:spPr/>
      <dgm:t>
        <a:bodyPr/>
        <a:lstStyle/>
        <a:p>
          <a:endParaRPr lang="en-US"/>
        </a:p>
      </dgm:t>
    </dgm:pt>
    <dgm:pt modelId="{A88C17FB-1AD1-D649-A4A1-BA0F81F55B9A}" type="pres">
      <dgm:prSet presAssocID="{7348B28A-A7DB-CD4D-8E15-6B1BC491FDB9}" presName="hierRoot2" presStyleCnt="0">
        <dgm:presLayoutVars>
          <dgm:hierBranch val="init"/>
        </dgm:presLayoutVars>
      </dgm:prSet>
      <dgm:spPr/>
    </dgm:pt>
    <dgm:pt modelId="{5624DA11-D5CD-A34E-9B1A-B15A661F2B7A}" type="pres">
      <dgm:prSet presAssocID="{7348B28A-A7DB-CD4D-8E15-6B1BC491FDB9}" presName="rootComposite" presStyleCnt="0"/>
      <dgm:spPr/>
    </dgm:pt>
    <dgm:pt modelId="{5E28BB19-10D0-764E-97CA-0B1F7E73AE07}" type="pres">
      <dgm:prSet presAssocID="{7348B28A-A7DB-CD4D-8E15-6B1BC491FDB9}" presName="rootText" presStyleLbl="node2" presStyleIdx="0" presStyleCnt="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E7AAA27-FDF7-BF41-B9E6-214330A53CF5}" type="pres">
      <dgm:prSet presAssocID="{7348B28A-A7DB-CD4D-8E15-6B1BC491FDB9}" presName="rootConnector" presStyleLbl="node2" presStyleIdx="0" presStyleCnt="2"/>
      <dgm:spPr/>
      <dgm:t>
        <a:bodyPr/>
        <a:lstStyle/>
        <a:p>
          <a:endParaRPr lang="en-US"/>
        </a:p>
      </dgm:t>
    </dgm:pt>
    <dgm:pt modelId="{FFCB4AE6-5031-F14C-B420-B7E1546C5459}" type="pres">
      <dgm:prSet presAssocID="{7348B28A-A7DB-CD4D-8E15-6B1BC491FDB9}" presName="hierChild4" presStyleCnt="0"/>
      <dgm:spPr/>
    </dgm:pt>
    <dgm:pt modelId="{8731628B-ECB4-5049-B523-37A0EECE9BF2}" type="pres">
      <dgm:prSet presAssocID="{7348B28A-A7DB-CD4D-8E15-6B1BC491FDB9}" presName="hierChild5" presStyleCnt="0"/>
      <dgm:spPr/>
    </dgm:pt>
    <dgm:pt modelId="{261A438A-5145-7A41-AE93-314D289C915B}" type="pres">
      <dgm:prSet presAssocID="{48EE978C-F6C3-FC43-B835-6DA97D47EBB5}" presName="Name37" presStyleLbl="parChTrans1D2" presStyleIdx="1" presStyleCnt="2"/>
      <dgm:spPr/>
      <dgm:t>
        <a:bodyPr/>
        <a:lstStyle/>
        <a:p>
          <a:endParaRPr lang="en-US"/>
        </a:p>
      </dgm:t>
    </dgm:pt>
    <dgm:pt modelId="{0F1A03CF-8876-D042-A0BC-DABA385D484D}" type="pres">
      <dgm:prSet presAssocID="{D90591BF-5848-D044-9FCB-3EB2A2ECB2D7}" presName="hierRoot2" presStyleCnt="0">
        <dgm:presLayoutVars>
          <dgm:hierBranch val="init"/>
        </dgm:presLayoutVars>
      </dgm:prSet>
      <dgm:spPr/>
    </dgm:pt>
    <dgm:pt modelId="{DFE32228-E5C5-4B43-8359-D032D9399676}" type="pres">
      <dgm:prSet presAssocID="{D90591BF-5848-D044-9FCB-3EB2A2ECB2D7}" presName="rootComposite" presStyleCnt="0"/>
      <dgm:spPr/>
    </dgm:pt>
    <dgm:pt modelId="{72EF56FF-41C5-A84C-836B-1652B3BD63B9}" type="pres">
      <dgm:prSet presAssocID="{D90591BF-5848-D044-9FCB-3EB2A2ECB2D7}" presName="rootText" presStyleLbl="node2" presStyleIdx="1" presStyleCnt="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B1DFEE7-1D8B-7B4D-89FC-FCFC5DF133D9}" type="pres">
      <dgm:prSet presAssocID="{D90591BF-5848-D044-9FCB-3EB2A2ECB2D7}" presName="rootConnector" presStyleLbl="node2" presStyleIdx="1" presStyleCnt="2"/>
      <dgm:spPr/>
      <dgm:t>
        <a:bodyPr/>
        <a:lstStyle/>
        <a:p>
          <a:endParaRPr lang="en-US"/>
        </a:p>
      </dgm:t>
    </dgm:pt>
    <dgm:pt modelId="{14BEB760-2702-D14A-8206-AB1AA7E6BB08}" type="pres">
      <dgm:prSet presAssocID="{D90591BF-5848-D044-9FCB-3EB2A2ECB2D7}" presName="hierChild4" presStyleCnt="0"/>
      <dgm:spPr/>
    </dgm:pt>
    <dgm:pt modelId="{ED72D610-58E6-5F43-B525-80DE4064F1EB}" type="pres">
      <dgm:prSet presAssocID="{D90591BF-5848-D044-9FCB-3EB2A2ECB2D7}" presName="hierChild5" presStyleCnt="0"/>
      <dgm:spPr/>
    </dgm:pt>
    <dgm:pt modelId="{3F867BA0-7D3B-5544-BA9A-1A9598E4B888}" type="pres">
      <dgm:prSet presAssocID="{BBB57F14-8103-AF42-8798-189A4D0F4753}" presName="hierChild3" presStyleCnt="0"/>
      <dgm:spPr/>
    </dgm:pt>
  </dgm:ptLst>
  <dgm:cxnLst>
    <dgm:cxn modelId="{4FA1BA3C-397C-B34C-9920-7738CF9B4817}" srcId="{BBB57F14-8103-AF42-8798-189A4D0F4753}" destId="{7348B28A-A7DB-CD4D-8E15-6B1BC491FDB9}" srcOrd="0" destOrd="0" parTransId="{C059233A-827A-1947-AEBC-7CB1CB7EA347}" sibTransId="{C06830DE-FF71-D646-A3B6-872A8A702422}"/>
    <dgm:cxn modelId="{EB7B3E08-2386-8645-BFA5-B259BEE922DE}" type="presOf" srcId="{D90591BF-5848-D044-9FCB-3EB2A2ECB2D7}" destId="{72EF56FF-41C5-A84C-836B-1652B3BD63B9}" srcOrd="0" destOrd="0" presId="urn:microsoft.com/office/officeart/2005/8/layout/orgChart1"/>
    <dgm:cxn modelId="{0BEFADDB-20FF-C54E-BDC7-412CD3497771}" type="presOf" srcId="{BBB57F14-8103-AF42-8798-189A4D0F4753}" destId="{F5E94A58-E482-8B43-8352-1EA9BC0BF826}" srcOrd="1" destOrd="0" presId="urn:microsoft.com/office/officeart/2005/8/layout/orgChart1"/>
    <dgm:cxn modelId="{F52D5E5D-577C-2249-B683-40FA0717E642}" srcId="{BBB57F14-8103-AF42-8798-189A4D0F4753}" destId="{D90591BF-5848-D044-9FCB-3EB2A2ECB2D7}" srcOrd="1" destOrd="0" parTransId="{48EE978C-F6C3-FC43-B835-6DA97D47EBB5}" sibTransId="{FD7065C0-F816-6F45-8EE8-A09A5F9597C7}"/>
    <dgm:cxn modelId="{DFD84D13-807F-D94E-9E3D-94E1DFB364CA}" type="presOf" srcId="{5FEED10F-689E-CA44-8C18-36A00BD120A7}" destId="{67098E15-2C05-C848-881C-3ECC25E1A7DF}" srcOrd="0" destOrd="0" presId="urn:microsoft.com/office/officeart/2005/8/layout/orgChart1"/>
    <dgm:cxn modelId="{43B7F818-9002-A248-BFDD-2ABF583C9200}" type="presOf" srcId="{7348B28A-A7DB-CD4D-8E15-6B1BC491FDB9}" destId="{8E7AAA27-FDF7-BF41-B9E6-214330A53CF5}" srcOrd="1" destOrd="0" presId="urn:microsoft.com/office/officeart/2005/8/layout/orgChart1"/>
    <dgm:cxn modelId="{63B66475-75AC-4F4B-A3F8-6F45A9C58614}" type="presOf" srcId="{C059233A-827A-1947-AEBC-7CB1CB7EA347}" destId="{39ADB8BD-7333-F54D-8076-2437A88D2A0B}" srcOrd="0" destOrd="0" presId="urn:microsoft.com/office/officeart/2005/8/layout/orgChart1"/>
    <dgm:cxn modelId="{EAEA32F5-BBB9-6745-BBBD-9D2CAB76CF37}" type="presOf" srcId="{7348B28A-A7DB-CD4D-8E15-6B1BC491FDB9}" destId="{5E28BB19-10D0-764E-97CA-0B1F7E73AE07}" srcOrd="0" destOrd="0" presId="urn:microsoft.com/office/officeart/2005/8/layout/orgChart1"/>
    <dgm:cxn modelId="{8DDA46A5-13E1-904E-961E-E3BA9F82B9EE}" srcId="{5FEED10F-689E-CA44-8C18-36A00BD120A7}" destId="{BBB57F14-8103-AF42-8798-189A4D0F4753}" srcOrd="0" destOrd="0" parTransId="{B560DD5E-1ED8-A446-8B42-5863E06FF956}" sibTransId="{70F3E76B-BD2C-A248-B19A-BB03E04C2788}"/>
    <dgm:cxn modelId="{2BB43CF8-9A01-AE41-80B6-1A57A7C171A0}" type="presOf" srcId="{48EE978C-F6C3-FC43-B835-6DA97D47EBB5}" destId="{261A438A-5145-7A41-AE93-314D289C915B}" srcOrd="0" destOrd="0" presId="urn:microsoft.com/office/officeart/2005/8/layout/orgChart1"/>
    <dgm:cxn modelId="{FA504688-3281-5941-A74E-3546E5C7535F}" type="presOf" srcId="{BBB57F14-8103-AF42-8798-189A4D0F4753}" destId="{7BD4B7F1-7568-5D4D-A6DA-1183CFC69214}" srcOrd="0" destOrd="0" presId="urn:microsoft.com/office/officeart/2005/8/layout/orgChart1"/>
    <dgm:cxn modelId="{63E77386-06BB-714F-BADE-1ED83392A22F}" type="presOf" srcId="{D90591BF-5848-D044-9FCB-3EB2A2ECB2D7}" destId="{3B1DFEE7-1D8B-7B4D-89FC-FCFC5DF133D9}" srcOrd="1" destOrd="0" presId="urn:microsoft.com/office/officeart/2005/8/layout/orgChart1"/>
    <dgm:cxn modelId="{A7891033-B842-434A-AA41-4A982D17AD9D}" type="presParOf" srcId="{67098E15-2C05-C848-881C-3ECC25E1A7DF}" destId="{76CB079B-621D-5A45-BFD2-8159333AA155}" srcOrd="0" destOrd="0" presId="urn:microsoft.com/office/officeart/2005/8/layout/orgChart1"/>
    <dgm:cxn modelId="{B215B43E-415E-AA44-A577-3DB593B008CC}" type="presParOf" srcId="{76CB079B-621D-5A45-BFD2-8159333AA155}" destId="{27AA86EC-4AE4-D744-9468-E43A1FE042EB}" srcOrd="0" destOrd="0" presId="urn:microsoft.com/office/officeart/2005/8/layout/orgChart1"/>
    <dgm:cxn modelId="{A30BE5EC-E16E-1B4E-81C4-DE89EFFD7FC3}" type="presParOf" srcId="{27AA86EC-4AE4-D744-9468-E43A1FE042EB}" destId="{7BD4B7F1-7568-5D4D-A6DA-1183CFC69214}" srcOrd="0" destOrd="0" presId="urn:microsoft.com/office/officeart/2005/8/layout/orgChart1"/>
    <dgm:cxn modelId="{0E23D8F0-2F7E-274A-86D8-E7F309B0B267}" type="presParOf" srcId="{27AA86EC-4AE4-D744-9468-E43A1FE042EB}" destId="{F5E94A58-E482-8B43-8352-1EA9BC0BF826}" srcOrd="1" destOrd="0" presId="urn:microsoft.com/office/officeart/2005/8/layout/orgChart1"/>
    <dgm:cxn modelId="{4A021C1A-0D17-8448-B616-9B5E2AEF228D}" type="presParOf" srcId="{76CB079B-621D-5A45-BFD2-8159333AA155}" destId="{6E84761C-B928-9F4F-B992-FC003C52A52B}" srcOrd="1" destOrd="0" presId="urn:microsoft.com/office/officeart/2005/8/layout/orgChart1"/>
    <dgm:cxn modelId="{2B36F07C-A0C6-574E-BF88-9F669C17B097}" type="presParOf" srcId="{6E84761C-B928-9F4F-B992-FC003C52A52B}" destId="{39ADB8BD-7333-F54D-8076-2437A88D2A0B}" srcOrd="0" destOrd="0" presId="urn:microsoft.com/office/officeart/2005/8/layout/orgChart1"/>
    <dgm:cxn modelId="{0EC99BDE-C952-DD44-864E-644A2CC1CB31}" type="presParOf" srcId="{6E84761C-B928-9F4F-B992-FC003C52A52B}" destId="{A88C17FB-1AD1-D649-A4A1-BA0F81F55B9A}" srcOrd="1" destOrd="0" presId="urn:microsoft.com/office/officeart/2005/8/layout/orgChart1"/>
    <dgm:cxn modelId="{AADDCF2D-AD6A-8343-94E8-0F9223F42835}" type="presParOf" srcId="{A88C17FB-1AD1-D649-A4A1-BA0F81F55B9A}" destId="{5624DA11-D5CD-A34E-9B1A-B15A661F2B7A}" srcOrd="0" destOrd="0" presId="urn:microsoft.com/office/officeart/2005/8/layout/orgChart1"/>
    <dgm:cxn modelId="{36E815E9-488D-8144-B1BE-B0C171E43124}" type="presParOf" srcId="{5624DA11-D5CD-A34E-9B1A-B15A661F2B7A}" destId="{5E28BB19-10D0-764E-97CA-0B1F7E73AE07}" srcOrd="0" destOrd="0" presId="urn:microsoft.com/office/officeart/2005/8/layout/orgChart1"/>
    <dgm:cxn modelId="{AC9862D1-2DA7-454C-9665-667D8FB05A20}" type="presParOf" srcId="{5624DA11-D5CD-A34E-9B1A-B15A661F2B7A}" destId="{8E7AAA27-FDF7-BF41-B9E6-214330A53CF5}" srcOrd="1" destOrd="0" presId="urn:microsoft.com/office/officeart/2005/8/layout/orgChart1"/>
    <dgm:cxn modelId="{D92C3FFA-A371-964C-A60F-5EEBEBAACD8D}" type="presParOf" srcId="{A88C17FB-1AD1-D649-A4A1-BA0F81F55B9A}" destId="{FFCB4AE6-5031-F14C-B420-B7E1546C5459}" srcOrd="1" destOrd="0" presId="urn:microsoft.com/office/officeart/2005/8/layout/orgChart1"/>
    <dgm:cxn modelId="{8E2C8F61-D6E2-1142-8D49-9652E6595023}" type="presParOf" srcId="{A88C17FB-1AD1-D649-A4A1-BA0F81F55B9A}" destId="{8731628B-ECB4-5049-B523-37A0EECE9BF2}" srcOrd="2" destOrd="0" presId="urn:microsoft.com/office/officeart/2005/8/layout/orgChart1"/>
    <dgm:cxn modelId="{5053F1DE-76B2-FF4A-975C-B0C4501FCD17}" type="presParOf" srcId="{6E84761C-B928-9F4F-B992-FC003C52A52B}" destId="{261A438A-5145-7A41-AE93-314D289C915B}" srcOrd="2" destOrd="0" presId="urn:microsoft.com/office/officeart/2005/8/layout/orgChart1"/>
    <dgm:cxn modelId="{69B57FAB-80FD-944F-8F20-704027436725}" type="presParOf" srcId="{6E84761C-B928-9F4F-B992-FC003C52A52B}" destId="{0F1A03CF-8876-D042-A0BC-DABA385D484D}" srcOrd="3" destOrd="0" presId="urn:microsoft.com/office/officeart/2005/8/layout/orgChart1"/>
    <dgm:cxn modelId="{E1669000-313E-324A-A6AD-8004C2009105}" type="presParOf" srcId="{0F1A03CF-8876-D042-A0BC-DABA385D484D}" destId="{DFE32228-E5C5-4B43-8359-D032D9399676}" srcOrd="0" destOrd="0" presId="urn:microsoft.com/office/officeart/2005/8/layout/orgChart1"/>
    <dgm:cxn modelId="{7D64272C-2404-A24C-9452-45E6D0B2AFAD}" type="presParOf" srcId="{DFE32228-E5C5-4B43-8359-D032D9399676}" destId="{72EF56FF-41C5-A84C-836B-1652B3BD63B9}" srcOrd="0" destOrd="0" presId="urn:microsoft.com/office/officeart/2005/8/layout/orgChart1"/>
    <dgm:cxn modelId="{9E4A0793-A82D-D549-B60C-716F8727BD0A}" type="presParOf" srcId="{DFE32228-E5C5-4B43-8359-D032D9399676}" destId="{3B1DFEE7-1D8B-7B4D-89FC-FCFC5DF133D9}" srcOrd="1" destOrd="0" presId="urn:microsoft.com/office/officeart/2005/8/layout/orgChart1"/>
    <dgm:cxn modelId="{9F4CC654-9745-3A4A-ABF7-1F8D1370B8ED}" type="presParOf" srcId="{0F1A03CF-8876-D042-A0BC-DABA385D484D}" destId="{14BEB760-2702-D14A-8206-AB1AA7E6BB08}" srcOrd="1" destOrd="0" presId="urn:microsoft.com/office/officeart/2005/8/layout/orgChart1"/>
    <dgm:cxn modelId="{90B5D2ED-508B-A24A-A2D5-2595EB396543}" type="presParOf" srcId="{0F1A03CF-8876-D042-A0BC-DABA385D484D}" destId="{ED72D610-58E6-5F43-B525-80DE4064F1EB}" srcOrd="2" destOrd="0" presId="urn:microsoft.com/office/officeart/2005/8/layout/orgChart1"/>
    <dgm:cxn modelId="{451090F8-0054-0745-B3B6-902FA9144E2D}" type="presParOf" srcId="{76CB079B-621D-5A45-BFD2-8159333AA155}" destId="{3F867BA0-7D3B-5544-BA9A-1A9598E4B888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EDCF2BF-C549-894A-94CE-448D0C0F5EC1}" type="doc">
      <dgm:prSet loTypeId="urn:microsoft.com/office/officeart/2005/8/layout/chevron1" loCatId="" qsTypeId="urn:microsoft.com/office/officeart/2005/8/quickstyle/simple4" qsCatId="simple" csTypeId="urn:microsoft.com/office/officeart/2005/8/colors/accent1_2" csCatId="accent1" phldr="1"/>
      <dgm:spPr/>
    </dgm:pt>
    <dgm:pt modelId="{DD624DB2-2365-D140-9885-8EA41C255F71}">
      <dgm:prSet phldrT="[Text]"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1700" b="1" dirty="0" smtClean="0">
              <a:solidFill>
                <a:srgbClr val="171515"/>
              </a:solidFill>
            </a:rPr>
            <a:t>Graduation</a:t>
          </a:r>
          <a:endParaRPr lang="en-US" sz="1700" dirty="0"/>
        </a:p>
      </dgm:t>
    </dgm:pt>
    <dgm:pt modelId="{7779C6FB-7670-BE48-A6B8-2386C8E62FE7}" type="parTrans" cxnId="{A24474B2-ED87-DC40-BA5A-AB612D6689D5}">
      <dgm:prSet/>
      <dgm:spPr/>
      <dgm:t>
        <a:bodyPr/>
        <a:lstStyle/>
        <a:p>
          <a:endParaRPr lang="en-US"/>
        </a:p>
      </dgm:t>
    </dgm:pt>
    <dgm:pt modelId="{4F94097E-AE6D-DD4C-A5C3-1895ED6DBBAA}" type="sibTrans" cxnId="{A24474B2-ED87-DC40-BA5A-AB612D6689D5}">
      <dgm:prSet/>
      <dgm:spPr/>
      <dgm:t>
        <a:bodyPr/>
        <a:lstStyle/>
        <a:p>
          <a:endParaRPr lang="en-US"/>
        </a:p>
      </dgm:t>
    </dgm:pt>
    <dgm:pt modelId="{887573C7-D64C-B149-9E37-F8A14A8B8A5C}" type="pres">
      <dgm:prSet presAssocID="{BEDCF2BF-C549-894A-94CE-448D0C0F5EC1}" presName="Name0" presStyleCnt="0">
        <dgm:presLayoutVars>
          <dgm:dir/>
          <dgm:animLvl val="lvl"/>
          <dgm:resizeHandles val="exact"/>
        </dgm:presLayoutVars>
      </dgm:prSet>
      <dgm:spPr/>
    </dgm:pt>
    <dgm:pt modelId="{C4DBA0D8-7289-BD4B-A7B0-6D4B8C598CCF}" type="pres">
      <dgm:prSet presAssocID="{DD624DB2-2365-D140-9885-8EA41C255F71}" presName="parTxOnly" presStyleLbl="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24474B2-ED87-DC40-BA5A-AB612D6689D5}" srcId="{BEDCF2BF-C549-894A-94CE-448D0C0F5EC1}" destId="{DD624DB2-2365-D140-9885-8EA41C255F71}" srcOrd="0" destOrd="0" parTransId="{7779C6FB-7670-BE48-A6B8-2386C8E62FE7}" sibTransId="{4F94097E-AE6D-DD4C-A5C3-1895ED6DBBAA}"/>
    <dgm:cxn modelId="{D85A6365-3B97-7643-B77E-5D660F4A940D}" type="presOf" srcId="{DD624DB2-2365-D140-9885-8EA41C255F71}" destId="{C4DBA0D8-7289-BD4B-A7B0-6D4B8C598CCF}" srcOrd="0" destOrd="0" presId="urn:microsoft.com/office/officeart/2005/8/layout/chevron1"/>
    <dgm:cxn modelId="{22F84402-DAE6-7E4B-A7D6-B091452E81BD}" type="presOf" srcId="{BEDCF2BF-C549-894A-94CE-448D0C0F5EC1}" destId="{887573C7-D64C-B149-9E37-F8A14A8B8A5C}" srcOrd="0" destOrd="0" presId="urn:microsoft.com/office/officeart/2005/8/layout/chevron1"/>
    <dgm:cxn modelId="{1D20B9DF-A8A7-B847-9AA0-FA17C2FEDAFC}" type="presParOf" srcId="{887573C7-D64C-B149-9E37-F8A14A8B8A5C}" destId="{C4DBA0D8-7289-BD4B-A7B0-6D4B8C598CCF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EDCF2BF-C549-894A-94CE-448D0C0F5EC1}" type="doc">
      <dgm:prSet loTypeId="urn:microsoft.com/office/officeart/2005/8/layout/chevron1" loCatId="" qsTypeId="urn:microsoft.com/office/officeart/2005/8/quickstyle/simple4" qsCatId="simple" csTypeId="urn:microsoft.com/office/officeart/2005/8/colors/accent1_2" csCatId="accent1" phldr="1"/>
      <dgm:spPr/>
    </dgm:pt>
    <dgm:pt modelId="{DD624DB2-2365-D140-9885-8EA41C255F71}">
      <dgm:prSet phldrT="[Text]"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2000" b="1" dirty="0" smtClean="0">
              <a:solidFill>
                <a:srgbClr val="171515"/>
              </a:solidFill>
            </a:rPr>
            <a:t>Job hunting</a:t>
          </a:r>
          <a:endParaRPr lang="en-US" sz="2000" dirty="0"/>
        </a:p>
      </dgm:t>
    </dgm:pt>
    <dgm:pt modelId="{7779C6FB-7670-BE48-A6B8-2386C8E62FE7}" type="parTrans" cxnId="{A24474B2-ED87-DC40-BA5A-AB612D6689D5}">
      <dgm:prSet/>
      <dgm:spPr/>
      <dgm:t>
        <a:bodyPr/>
        <a:lstStyle/>
        <a:p>
          <a:endParaRPr lang="en-US"/>
        </a:p>
      </dgm:t>
    </dgm:pt>
    <dgm:pt modelId="{4F94097E-AE6D-DD4C-A5C3-1895ED6DBBAA}" type="sibTrans" cxnId="{A24474B2-ED87-DC40-BA5A-AB612D6689D5}">
      <dgm:prSet/>
      <dgm:spPr/>
      <dgm:t>
        <a:bodyPr/>
        <a:lstStyle/>
        <a:p>
          <a:endParaRPr lang="en-US"/>
        </a:p>
      </dgm:t>
    </dgm:pt>
    <dgm:pt modelId="{887573C7-D64C-B149-9E37-F8A14A8B8A5C}" type="pres">
      <dgm:prSet presAssocID="{BEDCF2BF-C549-894A-94CE-448D0C0F5EC1}" presName="Name0" presStyleCnt="0">
        <dgm:presLayoutVars>
          <dgm:dir/>
          <dgm:animLvl val="lvl"/>
          <dgm:resizeHandles val="exact"/>
        </dgm:presLayoutVars>
      </dgm:prSet>
      <dgm:spPr/>
    </dgm:pt>
    <dgm:pt modelId="{C4DBA0D8-7289-BD4B-A7B0-6D4B8C598CCF}" type="pres">
      <dgm:prSet presAssocID="{DD624DB2-2365-D140-9885-8EA41C255F71}" presName="parTxOnly" presStyleLbl="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24474B2-ED87-DC40-BA5A-AB612D6689D5}" srcId="{BEDCF2BF-C549-894A-94CE-448D0C0F5EC1}" destId="{DD624DB2-2365-D140-9885-8EA41C255F71}" srcOrd="0" destOrd="0" parTransId="{7779C6FB-7670-BE48-A6B8-2386C8E62FE7}" sibTransId="{4F94097E-AE6D-DD4C-A5C3-1895ED6DBBAA}"/>
    <dgm:cxn modelId="{27748F07-754B-F543-8DAC-2922CA1CC229}" type="presOf" srcId="{DD624DB2-2365-D140-9885-8EA41C255F71}" destId="{C4DBA0D8-7289-BD4B-A7B0-6D4B8C598CCF}" srcOrd="0" destOrd="0" presId="urn:microsoft.com/office/officeart/2005/8/layout/chevron1"/>
    <dgm:cxn modelId="{F6577918-D820-7545-BEA6-A141FCF3A65B}" type="presOf" srcId="{BEDCF2BF-C549-894A-94CE-448D0C0F5EC1}" destId="{887573C7-D64C-B149-9E37-F8A14A8B8A5C}" srcOrd="0" destOrd="0" presId="urn:microsoft.com/office/officeart/2005/8/layout/chevron1"/>
    <dgm:cxn modelId="{D01AE6FA-8B7D-CF43-956C-D0247D2B7C74}" type="presParOf" srcId="{887573C7-D64C-B149-9E37-F8A14A8B8A5C}" destId="{C4DBA0D8-7289-BD4B-A7B0-6D4B8C598CCF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EDCF2BF-C549-894A-94CE-448D0C0F5EC1}" type="doc">
      <dgm:prSet loTypeId="urn:microsoft.com/office/officeart/2005/8/layout/chevron1" loCatId="" qsTypeId="urn:microsoft.com/office/officeart/2005/8/quickstyle/simple4" qsCatId="simple" csTypeId="urn:microsoft.com/office/officeart/2005/8/colors/accent1_2" csCatId="accent1" phldr="1"/>
      <dgm:spPr/>
    </dgm:pt>
    <dgm:pt modelId="{DD624DB2-2365-D140-9885-8EA41C255F71}">
      <dgm:prSet phldrT="[Text]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b="1" dirty="0" smtClean="0">
              <a:solidFill>
                <a:schemeClr val="accent3">
                  <a:lumMod val="10000"/>
                </a:schemeClr>
              </a:solidFill>
            </a:rPr>
            <a:t>Half a year outside Academia</a:t>
          </a:r>
          <a:endParaRPr lang="en-US" dirty="0"/>
        </a:p>
      </dgm:t>
    </dgm:pt>
    <dgm:pt modelId="{7779C6FB-7670-BE48-A6B8-2386C8E62FE7}" type="parTrans" cxnId="{A24474B2-ED87-DC40-BA5A-AB612D6689D5}">
      <dgm:prSet/>
      <dgm:spPr/>
      <dgm:t>
        <a:bodyPr/>
        <a:lstStyle/>
        <a:p>
          <a:endParaRPr lang="en-US"/>
        </a:p>
      </dgm:t>
    </dgm:pt>
    <dgm:pt modelId="{4F94097E-AE6D-DD4C-A5C3-1895ED6DBBAA}" type="sibTrans" cxnId="{A24474B2-ED87-DC40-BA5A-AB612D6689D5}">
      <dgm:prSet/>
      <dgm:spPr/>
      <dgm:t>
        <a:bodyPr/>
        <a:lstStyle/>
        <a:p>
          <a:endParaRPr lang="en-US"/>
        </a:p>
      </dgm:t>
    </dgm:pt>
    <dgm:pt modelId="{887573C7-D64C-B149-9E37-F8A14A8B8A5C}" type="pres">
      <dgm:prSet presAssocID="{BEDCF2BF-C549-894A-94CE-448D0C0F5EC1}" presName="Name0" presStyleCnt="0">
        <dgm:presLayoutVars>
          <dgm:dir/>
          <dgm:animLvl val="lvl"/>
          <dgm:resizeHandles val="exact"/>
        </dgm:presLayoutVars>
      </dgm:prSet>
      <dgm:spPr/>
    </dgm:pt>
    <dgm:pt modelId="{C4DBA0D8-7289-BD4B-A7B0-6D4B8C598CCF}" type="pres">
      <dgm:prSet presAssocID="{DD624DB2-2365-D140-9885-8EA41C255F71}" presName="parTxOnly" presStyleLbl="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87BC877-04C3-004D-B3CD-6418BA7630A1}" type="presOf" srcId="{DD624DB2-2365-D140-9885-8EA41C255F71}" destId="{C4DBA0D8-7289-BD4B-A7B0-6D4B8C598CCF}" srcOrd="0" destOrd="0" presId="urn:microsoft.com/office/officeart/2005/8/layout/chevron1"/>
    <dgm:cxn modelId="{A24474B2-ED87-DC40-BA5A-AB612D6689D5}" srcId="{BEDCF2BF-C549-894A-94CE-448D0C0F5EC1}" destId="{DD624DB2-2365-D140-9885-8EA41C255F71}" srcOrd="0" destOrd="0" parTransId="{7779C6FB-7670-BE48-A6B8-2386C8E62FE7}" sibTransId="{4F94097E-AE6D-DD4C-A5C3-1895ED6DBBAA}"/>
    <dgm:cxn modelId="{FD74B052-093D-2C4B-99BF-44A3978C8366}" type="presOf" srcId="{BEDCF2BF-C549-894A-94CE-448D0C0F5EC1}" destId="{887573C7-D64C-B149-9E37-F8A14A8B8A5C}" srcOrd="0" destOrd="0" presId="urn:microsoft.com/office/officeart/2005/8/layout/chevron1"/>
    <dgm:cxn modelId="{22FE1178-B9F9-6A4F-81E7-EA3B7199D107}" type="presParOf" srcId="{887573C7-D64C-B149-9E37-F8A14A8B8A5C}" destId="{C4DBA0D8-7289-BD4B-A7B0-6D4B8C598CCF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5063B69-52F2-E14D-BA86-498CAB446181}" type="doc">
      <dgm:prSet loTypeId="urn:microsoft.com/office/officeart/2005/8/layout/balance1" loCatId="" qsTypeId="urn:microsoft.com/office/officeart/2005/8/quickstyle/simple4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87BDD15E-698F-6746-89D1-2DB2649B1A8E}">
      <dgm:prSet phldrT="[Text]"/>
      <dgm:spPr/>
      <dgm:t>
        <a:bodyPr/>
        <a:lstStyle/>
        <a:p>
          <a:r>
            <a:rPr lang="en-US" dirty="0" smtClean="0"/>
            <a:t>Monograph</a:t>
          </a:r>
          <a:endParaRPr lang="en-US" dirty="0"/>
        </a:p>
      </dgm:t>
    </dgm:pt>
    <dgm:pt modelId="{69989597-1131-9645-95F1-D2BAE3C1BE93}" type="parTrans" cxnId="{23AF7CAE-FC48-E642-AE1E-F6D48B599207}">
      <dgm:prSet/>
      <dgm:spPr/>
      <dgm:t>
        <a:bodyPr/>
        <a:lstStyle/>
        <a:p>
          <a:endParaRPr lang="en-US"/>
        </a:p>
      </dgm:t>
    </dgm:pt>
    <dgm:pt modelId="{E6757C0E-97EE-1845-9CA3-BCD27342CC67}" type="sibTrans" cxnId="{23AF7CAE-FC48-E642-AE1E-F6D48B599207}">
      <dgm:prSet/>
      <dgm:spPr/>
      <dgm:t>
        <a:bodyPr/>
        <a:lstStyle/>
        <a:p>
          <a:endParaRPr lang="en-US"/>
        </a:p>
      </dgm:t>
    </dgm:pt>
    <dgm:pt modelId="{FE07D47D-9C5C-E040-A35A-BD3780057942}">
      <dgm:prSet phldrT="[Text]"/>
      <dgm:spPr/>
      <dgm:t>
        <a:bodyPr/>
        <a:lstStyle/>
        <a:p>
          <a:r>
            <a:rPr lang="en-US" dirty="0" smtClean="0"/>
            <a:t>Book</a:t>
          </a:r>
          <a:endParaRPr lang="en-US" dirty="0"/>
        </a:p>
      </dgm:t>
    </dgm:pt>
    <dgm:pt modelId="{0FF4F2A0-3CD9-5944-9781-41EF83E5BA13}" type="parTrans" cxnId="{598725C8-8EC1-564B-9D6E-DA38E29CE1FD}">
      <dgm:prSet/>
      <dgm:spPr/>
      <dgm:t>
        <a:bodyPr/>
        <a:lstStyle/>
        <a:p>
          <a:endParaRPr lang="en-US"/>
        </a:p>
      </dgm:t>
    </dgm:pt>
    <dgm:pt modelId="{7807F1A0-03EE-A047-BFDA-909A0054FEAA}" type="sibTrans" cxnId="{598725C8-8EC1-564B-9D6E-DA38E29CE1FD}">
      <dgm:prSet/>
      <dgm:spPr/>
      <dgm:t>
        <a:bodyPr/>
        <a:lstStyle/>
        <a:p>
          <a:endParaRPr lang="en-US"/>
        </a:p>
      </dgm:t>
    </dgm:pt>
    <dgm:pt modelId="{F65EE1D3-8892-9541-ADE9-C2508CE754D7}">
      <dgm:prSet phldrT="[Text]"/>
      <dgm:spPr/>
      <dgm:t>
        <a:bodyPr/>
        <a:lstStyle/>
        <a:p>
          <a:r>
            <a:rPr lang="en-US" dirty="0" smtClean="0"/>
            <a:t>Time</a:t>
          </a:r>
          <a:endParaRPr lang="en-US" dirty="0"/>
        </a:p>
      </dgm:t>
    </dgm:pt>
    <dgm:pt modelId="{7189BE63-14F2-AE44-B82C-58A89EAC4BE8}" type="parTrans" cxnId="{64D98EBF-E3D4-0D42-9245-0BD9A6D174E9}">
      <dgm:prSet/>
      <dgm:spPr/>
      <dgm:t>
        <a:bodyPr/>
        <a:lstStyle/>
        <a:p>
          <a:endParaRPr lang="en-US"/>
        </a:p>
      </dgm:t>
    </dgm:pt>
    <dgm:pt modelId="{3272DFC1-70E4-8C45-B517-E6A1026AF0B8}" type="sibTrans" cxnId="{64D98EBF-E3D4-0D42-9245-0BD9A6D174E9}">
      <dgm:prSet/>
      <dgm:spPr/>
      <dgm:t>
        <a:bodyPr/>
        <a:lstStyle/>
        <a:p>
          <a:endParaRPr lang="en-US"/>
        </a:p>
      </dgm:t>
    </dgm:pt>
    <dgm:pt modelId="{F03A1572-6067-BE4F-8BB8-40CED9AD90EC}">
      <dgm:prSet phldrT="[Text]"/>
      <dgm:spPr/>
      <dgm:t>
        <a:bodyPr/>
        <a:lstStyle/>
        <a:p>
          <a:r>
            <a:rPr lang="en-US" dirty="0" smtClean="0"/>
            <a:t>Collection of articles</a:t>
          </a:r>
          <a:endParaRPr lang="en-US" dirty="0"/>
        </a:p>
      </dgm:t>
    </dgm:pt>
    <dgm:pt modelId="{C6D211D6-8E55-9347-BFFA-8E35601D8047}" type="sibTrans" cxnId="{3F81EAEF-F870-5940-9820-D4E4E3A0052D}">
      <dgm:prSet/>
      <dgm:spPr/>
      <dgm:t>
        <a:bodyPr/>
        <a:lstStyle/>
        <a:p>
          <a:endParaRPr lang="en-US"/>
        </a:p>
      </dgm:t>
    </dgm:pt>
    <dgm:pt modelId="{3DA196B2-DE94-274B-AE9D-4158660008BA}" type="parTrans" cxnId="{3F81EAEF-F870-5940-9820-D4E4E3A0052D}">
      <dgm:prSet/>
      <dgm:spPr/>
      <dgm:t>
        <a:bodyPr/>
        <a:lstStyle/>
        <a:p>
          <a:endParaRPr lang="en-US"/>
        </a:p>
      </dgm:t>
    </dgm:pt>
    <dgm:pt modelId="{5EFA6FD0-72BD-CE4E-AE9D-75DB525D3190}">
      <dgm:prSet phldrT="[Text]"/>
      <dgm:spPr/>
      <dgm:t>
        <a:bodyPr/>
        <a:lstStyle/>
        <a:p>
          <a:r>
            <a:rPr lang="en-US" dirty="0" smtClean="0"/>
            <a:t>Peer review</a:t>
          </a:r>
          <a:endParaRPr lang="en-US" dirty="0"/>
        </a:p>
      </dgm:t>
    </dgm:pt>
    <dgm:pt modelId="{16835EA2-7A96-1942-BBD4-2CCDECC0059E}" type="parTrans" cxnId="{FBCB32B5-2261-9441-A24E-B8F1F208932D}">
      <dgm:prSet/>
      <dgm:spPr/>
      <dgm:t>
        <a:bodyPr/>
        <a:lstStyle/>
        <a:p>
          <a:endParaRPr lang="en-US"/>
        </a:p>
      </dgm:t>
    </dgm:pt>
    <dgm:pt modelId="{CADBB15F-A6AC-D941-8E13-FEA7895F4F15}" type="sibTrans" cxnId="{FBCB32B5-2261-9441-A24E-B8F1F208932D}">
      <dgm:prSet/>
      <dgm:spPr/>
      <dgm:t>
        <a:bodyPr/>
        <a:lstStyle/>
        <a:p>
          <a:endParaRPr lang="en-US"/>
        </a:p>
      </dgm:t>
    </dgm:pt>
    <dgm:pt modelId="{318328C6-256F-D846-9CAC-B667C07E8756}">
      <dgm:prSet phldrT="[Text]"/>
      <dgm:spPr/>
      <dgm:t>
        <a:bodyPr/>
        <a:lstStyle/>
        <a:p>
          <a:r>
            <a:rPr lang="en-US" dirty="0" smtClean="0"/>
            <a:t>Deep</a:t>
          </a:r>
          <a:endParaRPr lang="en-US" dirty="0"/>
        </a:p>
      </dgm:t>
    </dgm:pt>
    <dgm:pt modelId="{2C4F29B4-F988-1E4B-9F39-9E74499BFE99}" type="parTrans" cxnId="{783FF833-2D74-EB45-AD91-B7F00D0CA0FD}">
      <dgm:prSet/>
      <dgm:spPr/>
      <dgm:t>
        <a:bodyPr/>
        <a:lstStyle/>
        <a:p>
          <a:endParaRPr lang="en-US"/>
        </a:p>
      </dgm:t>
    </dgm:pt>
    <dgm:pt modelId="{9FB84DC8-1A19-4845-9535-EBBDF573C361}" type="sibTrans" cxnId="{783FF833-2D74-EB45-AD91-B7F00D0CA0FD}">
      <dgm:prSet/>
      <dgm:spPr/>
      <dgm:t>
        <a:bodyPr/>
        <a:lstStyle/>
        <a:p>
          <a:endParaRPr lang="en-US"/>
        </a:p>
      </dgm:t>
    </dgm:pt>
    <dgm:pt modelId="{AF8A17BF-4BC0-9745-B084-90BF13CE81AF}" type="pres">
      <dgm:prSet presAssocID="{35063B69-52F2-E14D-BA86-498CAB446181}" presName="outerComposite" presStyleCnt="0">
        <dgm:presLayoutVars>
          <dgm:chMax val="2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8C6A758-CC44-2B45-BB7C-FBAEDB1736F1}" type="pres">
      <dgm:prSet presAssocID="{35063B69-52F2-E14D-BA86-498CAB446181}" presName="dummyMaxCanvas" presStyleCnt="0"/>
      <dgm:spPr/>
    </dgm:pt>
    <dgm:pt modelId="{2EA2B3F6-F289-EE48-90B9-5F8ED0004206}" type="pres">
      <dgm:prSet presAssocID="{35063B69-52F2-E14D-BA86-498CAB446181}" presName="parentComposite" presStyleCnt="0"/>
      <dgm:spPr/>
    </dgm:pt>
    <dgm:pt modelId="{D7F17147-C621-3B41-869A-7C2E6EB0FAC6}" type="pres">
      <dgm:prSet presAssocID="{35063B69-52F2-E14D-BA86-498CAB446181}" presName="parent1" presStyleLbl="alignAccFollowNode1" presStyleIdx="0" presStyleCnt="4">
        <dgm:presLayoutVars>
          <dgm:chMax val="4"/>
        </dgm:presLayoutVars>
      </dgm:prSet>
      <dgm:spPr/>
      <dgm:t>
        <a:bodyPr/>
        <a:lstStyle/>
        <a:p>
          <a:endParaRPr lang="en-US"/>
        </a:p>
      </dgm:t>
    </dgm:pt>
    <dgm:pt modelId="{D7B54F87-CD3C-AF4A-8CA7-F5B738AD9E81}" type="pres">
      <dgm:prSet presAssocID="{35063B69-52F2-E14D-BA86-498CAB446181}" presName="parent2" presStyleLbl="alignAccFollowNode1" presStyleIdx="1" presStyleCnt="4">
        <dgm:presLayoutVars>
          <dgm:chMax val="4"/>
        </dgm:presLayoutVars>
      </dgm:prSet>
      <dgm:spPr/>
      <dgm:t>
        <a:bodyPr/>
        <a:lstStyle/>
        <a:p>
          <a:endParaRPr lang="en-US"/>
        </a:p>
      </dgm:t>
    </dgm:pt>
    <dgm:pt modelId="{2D05F460-1F62-3E4B-A7E5-2291D99293D7}" type="pres">
      <dgm:prSet presAssocID="{35063B69-52F2-E14D-BA86-498CAB446181}" presName="childrenComposite" presStyleCnt="0"/>
      <dgm:spPr/>
    </dgm:pt>
    <dgm:pt modelId="{7DC84FA1-9210-CD4C-A56E-4CE6A6B4EC26}" type="pres">
      <dgm:prSet presAssocID="{35063B69-52F2-E14D-BA86-498CAB446181}" presName="dummyMaxCanvas_ChildArea" presStyleCnt="0"/>
      <dgm:spPr/>
    </dgm:pt>
    <dgm:pt modelId="{BF6CC8F9-0306-154F-8928-A0B3B23CB4B7}" type="pres">
      <dgm:prSet presAssocID="{35063B69-52F2-E14D-BA86-498CAB446181}" presName="fulcrum" presStyleLbl="alignAccFollowNode1" presStyleIdx="2" presStyleCnt="4"/>
      <dgm:spPr/>
    </dgm:pt>
    <dgm:pt modelId="{73F3935C-653E-F346-B3CF-A43D50A5F8BA}" type="pres">
      <dgm:prSet presAssocID="{35063B69-52F2-E14D-BA86-498CAB446181}" presName="balance_22" presStyleLbl="alignAccFollowNode1" presStyleIdx="3" presStyleCnt="4">
        <dgm:presLayoutVars>
          <dgm:bulletEnabled val="1"/>
        </dgm:presLayoutVars>
      </dgm:prSet>
      <dgm:spPr/>
    </dgm:pt>
    <dgm:pt modelId="{80E2D590-7FC1-0C44-83B5-4CFCC5E9C1BE}" type="pres">
      <dgm:prSet presAssocID="{35063B69-52F2-E14D-BA86-498CAB446181}" presName="right_22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EADC8A9-A71A-384C-9776-F67F0EE61F37}" type="pres">
      <dgm:prSet presAssocID="{35063B69-52F2-E14D-BA86-498CAB446181}" presName="right_22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22FFE15-F7EF-8C4F-9566-74ACFD939D4F}" type="pres">
      <dgm:prSet presAssocID="{35063B69-52F2-E14D-BA86-498CAB446181}" presName="left_22_1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7D44A32-6ECA-FE40-AB33-F43708581B9F}" type="pres">
      <dgm:prSet presAssocID="{35063B69-52F2-E14D-BA86-498CAB446181}" presName="left_22_2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3AF7CAE-FC48-E642-AE1E-F6D48B599207}" srcId="{35063B69-52F2-E14D-BA86-498CAB446181}" destId="{87BDD15E-698F-6746-89D1-2DB2649B1A8E}" srcOrd="0" destOrd="0" parTransId="{69989597-1131-9645-95F1-D2BAE3C1BE93}" sibTransId="{E6757C0E-97EE-1845-9CA3-BCD27342CC67}"/>
    <dgm:cxn modelId="{FBCB32B5-2261-9441-A24E-B8F1F208932D}" srcId="{F03A1572-6067-BE4F-8BB8-40CED9AD90EC}" destId="{5EFA6FD0-72BD-CE4E-AE9D-75DB525D3190}" srcOrd="1" destOrd="0" parTransId="{16835EA2-7A96-1942-BBD4-2CCDECC0059E}" sibTransId="{CADBB15F-A6AC-D941-8E13-FEA7895F4F15}"/>
    <dgm:cxn modelId="{783FF833-2D74-EB45-AD91-B7F00D0CA0FD}" srcId="{87BDD15E-698F-6746-89D1-2DB2649B1A8E}" destId="{318328C6-256F-D846-9CAC-B667C07E8756}" srcOrd="1" destOrd="0" parTransId="{2C4F29B4-F988-1E4B-9F39-9E74499BFE99}" sibTransId="{9FB84DC8-1A19-4845-9535-EBBDF573C361}"/>
    <dgm:cxn modelId="{F4BC69D6-3AE2-5445-A5AA-DC906B7638F8}" type="presOf" srcId="{F65EE1D3-8892-9541-ADE9-C2508CE754D7}" destId="{80E2D590-7FC1-0C44-83B5-4CFCC5E9C1BE}" srcOrd="0" destOrd="0" presId="urn:microsoft.com/office/officeart/2005/8/layout/balance1"/>
    <dgm:cxn modelId="{2E76BBC1-6D91-BF40-938F-DDD74E1F6533}" type="presOf" srcId="{FE07D47D-9C5C-E040-A35A-BD3780057942}" destId="{622FFE15-F7EF-8C4F-9566-74ACFD939D4F}" srcOrd="0" destOrd="0" presId="urn:microsoft.com/office/officeart/2005/8/layout/balance1"/>
    <dgm:cxn modelId="{0E2094A1-28F6-C447-81C3-D7156EA0C466}" type="presOf" srcId="{87BDD15E-698F-6746-89D1-2DB2649B1A8E}" destId="{D7F17147-C621-3B41-869A-7C2E6EB0FAC6}" srcOrd="0" destOrd="0" presId="urn:microsoft.com/office/officeart/2005/8/layout/balance1"/>
    <dgm:cxn modelId="{7B54652C-7319-0446-B4E6-12A1B3027ADE}" type="presOf" srcId="{318328C6-256F-D846-9CAC-B667C07E8756}" destId="{97D44A32-6ECA-FE40-AB33-F43708581B9F}" srcOrd="0" destOrd="0" presId="urn:microsoft.com/office/officeart/2005/8/layout/balance1"/>
    <dgm:cxn modelId="{64D98EBF-E3D4-0D42-9245-0BD9A6D174E9}" srcId="{F03A1572-6067-BE4F-8BB8-40CED9AD90EC}" destId="{F65EE1D3-8892-9541-ADE9-C2508CE754D7}" srcOrd="0" destOrd="0" parTransId="{7189BE63-14F2-AE44-B82C-58A89EAC4BE8}" sibTransId="{3272DFC1-70E4-8C45-B517-E6A1026AF0B8}"/>
    <dgm:cxn modelId="{9DF7ABA5-E45D-0743-BE78-12AD65BFCAAE}" type="presOf" srcId="{5EFA6FD0-72BD-CE4E-AE9D-75DB525D3190}" destId="{EEADC8A9-A71A-384C-9776-F67F0EE61F37}" srcOrd="0" destOrd="0" presId="urn:microsoft.com/office/officeart/2005/8/layout/balance1"/>
    <dgm:cxn modelId="{7BAF747D-FFF4-0349-B9B9-31A9CB729961}" type="presOf" srcId="{F03A1572-6067-BE4F-8BB8-40CED9AD90EC}" destId="{D7B54F87-CD3C-AF4A-8CA7-F5B738AD9E81}" srcOrd="0" destOrd="0" presId="urn:microsoft.com/office/officeart/2005/8/layout/balance1"/>
    <dgm:cxn modelId="{598725C8-8EC1-564B-9D6E-DA38E29CE1FD}" srcId="{87BDD15E-698F-6746-89D1-2DB2649B1A8E}" destId="{FE07D47D-9C5C-E040-A35A-BD3780057942}" srcOrd="0" destOrd="0" parTransId="{0FF4F2A0-3CD9-5944-9781-41EF83E5BA13}" sibTransId="{7807F1A0-03EE-A047-BFDA-909A0054FEAA}"/>
    <dgm:cxn modelId="{3F81EAEF-F870-5940-9820-D4E4E3A0052D}" srcId="{35063B69-52F2-E14D-BA86-498CAB446181}" destId="{F03A1572-6067-BE4F-8BB8-40CED9AD90EC}" srcOrd="1" destOrd="0" parTransId="{3DA196B2-DE94-274B-AE9D-4158660008BA}" sibTransId="{C6D211D6-8E55-9347-BFFA-8E35601D8047}"/>
    <dgm:cxn modelId="{3A5F0BEA-83A4-A049-AB99-EE543675E5FF}" type="presOf" srcId="{35063B69-52F2-E14D-BA86-498CAB446181}" destId="{AF8A17BF-4BC0-9745-B084-90BF13CE81AF}" srcOrd="0" destOrd="0" presId="urn:microsoft.com/office/officeart/2005/8/layout/balance1"/>
    <dgm:cxn modelId="{BCD824A5-48E8-2E40-BFD1-2B4C25A6E019}" type="presParOf" srcId="{AF8A17BF-4BC0-9745-B084-90BF13CE81AF}" destId="{F8C6A758-CC44-2B45-BB7C-FBAEDB1736F1}" srcOrd="0" destOrd="0" presId="urn:microsoft.com/office/officeart/2005/8/layout/balance1"/>
    <dgm:cxn modelId="{ECA0DFCC-10A7-044B-BB76-CB5098B14F97}" type="presParOf" srcId="{AF8A17BF-4BC0-9745-B084-90BF13CE81AF}" destId="{2EA2B3F6-F289-EE48-90B9-5F8ED0004206}" srcOrd="1" destOrd="0" presId="urn:microsoft.com/office/officeart/2005/8/layout/balance1"/>
    <dgm:cxn modelId="{54D8D46B-46F6-4C46-BF8E-2517CBF382F1}" type="presParOf" srcId="{2EA2B3F6-F289-EE48-90B9-5F8ED0004206}" destId="{D7F17147-C621-3B41-869A-7C2E6EB0FAC6}" srcOrd="0" destOrd="0" presId="urn:microsoft.com/office/officeart/2005/8/layout/balance1"/>
    <dgm:cxn modelId="{5C829A1E-5744-BB40-979E-1339B59DADFE}" type="presParOf" srcId="{2EA2B3F6-F289-EE48-90B9-5F8ED0004206}" destId="{D7B54F87-CD3C-AF4A-8CA7-F5B738AD9E81}" srcOrd="1" destOrd="0" presId="urn:microsoft.com/office/officeart/2005/8/layout/balance1"/>
    <dgm:cxn modelId="{DA0720B0-62FB-2241-9649-4F16E27CC6D6}" type="presParOf" srcId="{AF8A17BF-4BC0-9745-B084-90BF13CE81AF}" destId="{2D05F460-1F62-3E4B-A7E5-2291D99293D7}" srcOrd="2" destOrd="0" presId="urn:microsoft.com/office/officeart/2005/8/layout/balance1"/>
    <dgm:cxn modelId="{FBC47F7A-06D0-1B4F-B181-12604C4ABA0C}" type="presParOf" srcId="{2D05F460-1F62-3E4B-A7E5-2291D99293D7}" destId="{7DC84FA1-9210-CD4C-A56E-4CE6A6B4EC26}" srcOrd="0" destOrd="0" presId="urn:microsoft.com/office/officeart/2005/8/layout/balance1"/>
    <dgm:cxn modelId="{77E48964-760C-614F-8E6D-098F48FC621E}" type="presParOf" srcId="{2D05F460-1F62-3E4B-A7E5-2291D99293D7}" destId="{BF6CC8F9-0306-154F-8928-A0B3B23CB4B7}" srcOrd="1" destOrd="0" presId="urn:microsoft.com/office/officeart/2005/8/layout/balance1"/>
    <dgm:cxn modelId="{FB2E85D0-8524-154B-890C-FC726DE6870F}" type="presParOf" srcId="{2D05F460-1F62-3E4B-A7E5-2291D99293D7}" destId="{73F3935C-653E-F346-B3CF-A43D50A5F8BA}" srcOrd="2" destOrd="0" presId="urn:microsoft.com/office/officeart/2005/8/layout/balance1"/>
    <dgm:cxn modelId="{684DA657-473A-344B-8413-C48CA0EB6079}" type="presParOf" srcId="{2D05F460-1F62-3E4B-A7E5-2291D99293D7}" destId="{80E2D590-7FC1-0C44-83B5-4CFCC5E9C1BE}" srcOrd="3" destOrd="0" presId="urn:microsoft.com/office/officeart/2005/8/layout/balance1"/>
    <dgm:cxn modelId="{E30071CF-B4C8-1A4C-B787-28C96B486FC9}" type="presParOf" srcId="{2D05F460-1F62-3E4B-A7E5-2291D99293D7}" destId="{EEADC8A9-A71A-384C-9776-F67F0EE61F37}" srcOrd="4" destOrd="0" presId="urn:microsoft.com/office/officeart/2005/8/layout/balance1"/>
    <dgm:cxn modelId="{666FEB11-F469-1541-B9A7-9763B6233263}" type="presParOf" srcId="{2D05F460-1F62-3E4B-A7E5-2291D99293D7}" destId="{622FFE15-F7EF-8C4F-9566-74ACFD939D4F}" srcOrd="5" destOrd="0" presId="urn:microsoft.com/office/officeart/2005/8/layout/balance1"/>
    <dgm:cxn modelId="{7F852834-D31A-DA43-AA56-B63CBDF32BB6}" type="presParOf" srcId="{2D05F460-1F62-3E4B-A7E5-2291D99293D7}" destId="{97D44A32-6ECA-FE40-AB33-F43708581B9F}" srcOrd="6" destOrd="0" presId="urn:microsoft.com/office/officeart/2005/8/layout/balanc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EDCF2BF-C549-894A-94CE-448D0C0F5EC1}" type="doc">
      <dgm:prSet loTypeId="urn:microsoft.com/office/officeart/2005/8/layout/chevron1" loCatId="" qsTypeId="urn:microsoft.com/office/officeart/2005/8/quickstyle/simple4" qsCatId="simple" csTypeId="urn:microsoft.com/office/officeart/2005/8/colors/accent1_2" csCatId="accent1" phldr="1"/>
      <dgm:spPr/>
    </dgm:pt>
    <dgm:pt modelId="{DD624DB2-2365-D140-9885-8EA41C255F71}">
      <dgm:prSet phldrT="[Text]"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2000" b="1" dirty="0" smtClean="0">
              <a:solidFill>
                <a:srgbClr val="171515"/>
              </a:solidFill>
            </a:rPr>
            <a:t>Middle of PhD</a:t>
          </a:r>
          <a:endParaRPr lang="en-US" sz="2000" dirty="0"/>
        </a:p>
      </dgm:t>
    </dgm:pt>
    <dgm:pt modelId="{7779C6FB-7670-BE48-A6B8-2386C8E62FE7}" type="parTrans" cxnId="{A24474B2-ED87-DC40-BA5A-AB612D6689D5}">
      <dgm:prSet/>
      <dgm:spPr/>
      <dgm:t>
        <a:bodyPr/>
        <a:lstStyle/>
        <a:p>
          <a:endParaRPr lang="en-US"/>
        </a:p>
      </dgm:t>
    </dgm:pt>
    <dgm:pt modelId="{4F94097E-AE6D-DD4C-A5C3-1895ED6DBBAA}" type="sibTrans" cxnId="{A24474B2-ED87-DC40-BA5A-AB612D6689D5}">
      <dgm:prSet/>
      <dgm:spPr/>
      <dgm:t>
        <a:bodyPr/>
        <a:lstStyle/>
        <a:p>
          <a:endParaRPr lang="en-US"/>
        </a:p>
      </dgm:t>
    </dgm:pt>
    <dgm:pt modelId="{887573C7-D64C-B149-9E37-F8A14A8B8A5C}" type="pres">
      <dgm:prSet presAssocID="{BEDCF2BF-C549-894A-94CE-448D0C0F5EC1}" presName="Name0" presStyleCnt="0">
        <dgm:presLayoutVars>
          <dgm:dir/>
          <dgm:animLvl val="lvl"/>
          <dgm:resizeHandles val="exact"/>
        </dgm:presLayoutVars>
      </dgm:prSet>
      <dgm:spPr/>
    </dgm:pt>
    <dgm:pt modelId="{C4DBA0D8-7289-BD4B-A7B0-6D4B8C598CCF}" type="pres">
      <dgm:prSet presAssocID="{DD624DB2-2365-D140-9885-8EA41C255F71}" presName="parTxOnly" presStyleLbl="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24474B2-ED87-DC40-BA5A-AB612D6689D5}" srcId="{BEDCF2BF-C549-894A-94CE-448D0C0F5EC1}" destId="{DD624DB2-2365-D140-9885-8EA41C255F71}" srcOrd="0" destOrd="0" parTransId="{7779C6FB-7670-BE48-A6B8-2386C8E62FE7}" sibTransId="{4F94097E-AE6D-DD4C-A5C3-1895ED6DBBAA}"/>
    <dgm:cxn modelId="{2A3827EE-97FC-7640-A4CF-D15E79572E93}" type="presOf" srcId="{BEDCF2BF-C549-894A-94CE-448D0C0F5EC1}" destId="{887573C7-D64C-B149-9E37-F8A14A8B8A5C}" srcOrd="0" destOrd="0" presId="urn:microsoft.com/office/officeart/2005/8/layout/chevron1"/>
    <dgm:cxn modelId="{26092313-E95E-2440-BE4E-FAC4541F3DFF}" type="presOf" srcId="{DD624DB2-2365-D140-9885-8EA41C255F71}" destId="{C4DBA0D8-7289-BD4B-A7B0-6D4B8C598CCF}" srcOrd="0" destOrd="0" presId="urn:microsoft.com/office/officeart/2005/8/layout/chevron1"/>
    <dgm:cxn modelId="{E2AC40E9-A861-6247-B8F1-90A45788639C}" type="presParOf" srcId="{887573C7-D64C-B149-9E37-F8A14A8B8A5C}" destId="{C4DBA0D8-7289-BD4B-A7B0-6D4B8C598CCF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BEDCF2BF-C549-894A-94CE-448D0C0F5EC1}" type="doc">
      <dgm:prSet loTypeId="urn:microsoft.com/office/officeart/2005/8/layout/chevron1" loCatId="" qsTypeId="urn:microsoft.com/office/officeart/2005/8/quickstyle/simple4" qsCatId="simple" csTypeId="urn:microsoft.com/office/officeart/2005/8/colors/accent1_2" csCatId="accent1" phldr="1"/>
      <dgm:spPr/>
    </dgm:pt>
    <dgm:pt modelId="{DD624DB2-2365-D140-9885-8EA41C255F71}">
      <dgm:prSet phldrT="[Text]"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1700" b="1" dirty="0" smtClean="0">
              <a:solidFill>
                <a:srgbClr val="171515"/>
              </a:solidFill>
            </a:rPr>
            <a:t>Graduation</a:t>
          </a:r>
          <a:endParaRPr lang="en-US" sz="1700" dirty="0"/>
        </a:p>
      </dgm:t>
    </dgm:pt>
    <dgm:pt modelId="{7779C6FB-7670-BE48-A6B8-2386C8E62FE7}" type="parTrans" cxnId="{A24474B2-ED87-DC40-BA5A-AB612D6689D5}">
      <dgm:prSet/>
      <dgm:spPr/>
      <dgm:t>
        <a:bodyPr/>
        <a:lstStyle/>
        <a:p>
          <a:endParaRPr lang="en-US"/>
        </a:p>
      </dgm:t>
    </dgm:pt>
    <dgm:pt modelId="{4F94097E-AE6D-DD4C-A5C3-1895ED6DBBAA}" type="sibTrans" cxnId="{A24474B2-ED87-DC40-BA5A-AB612D6689D5}">
      <dgm:prSet/>
      <dgm:spPr/>
      <dgm:t>
        <a:bodyPr/>
        <a:lstStyle/>
        <a:p>
          <a:endParaRPr lang="en-US"/>
        </a:p>
      </dgm:t>
    </dgm:pt>
    <dgm:pt modelId="{887573C7-D64C-B149-9E37-F8A14A8B8A5C}" type="pres">
      <dgm:prSet presAssocID="{BEDCF2BF-C549-894A-94CE-448D0C0F5EC1}" presName="Name0" presStyleCnt="0">
        <dgm:presLayoutVars>
          <dgm:dir/>
          <dgm:animLvl val="lvl"/>
          <dgm:resizeHandles val="exact"/>
        </dgm:presLayoutVars>
      </dgm:prSet>
      <dgm:spPr/>
    </dgm:pt>
    <dgm:pt modelId="{C4DBA0D8-7289-BD4B-A7B0-6D4B8C598CCF}" type="pres">
      <dgm:prSet presAssocID="{DD624DB2-2365-D140-9885-8EA41C255F71}" presName="parTxOnly" presStyleLbl="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24474B2-ED87-DC40-BA5A-AB612D6689D5}" srcId="{BEDCF2BF-C549-894A-94CE-448D0C0F5EC1}" destId="{DD624DB2-2365-D140-9885-8EA41C255F71}" srcOrd="0" destOrd="0" parTransId="{7779C6FB-7670-BE48-A6B8-2386C8E62FE7}" sibTransId="{4F94097E-AE6D-DD4C-A5C3-1895ED6DBBAA}"/>
    <dgm:cxn modelId="{8CA7D927-F536-ED41-AEA9-DBC65DC64915}" type="presOf" srcId="{BEDCF2BF-C549-894A-94CE-448D0C0F5EC1}" destId="{887573C7-D64C-B149-9E37-F8A14A8B8A5C}" srcOrd="0" destOrd="0" presId="urn:microsoft.com/office/officeart/2005/8/layout/chevron1"/>
    <dgm:cxn modelId="{42578CF9-9693-E94C-9986-385E31DB7412}" type="presOf" srcId="{DD624DB2-2365-D140-9885-8EA41C255F71}" destId="{C4DBA0D8-7289-BD4B-A7B0-6D4B8C598CCF}" srcOrd="0" destOrd="0" presId="urn:microsoft.com/office/officeart/2005/8/layout/chevron1"/>
    <dgm:cxn modelId="{7CF69A84-40D3-4A4D-A018-CCD6F08C056C}" type="presParOf" srcId="{887573C7-D64C-B149-9E37-F8A14A8B8A5C}" destId="{C4DBA0D8-7289-BD4B-A7B0-6D4B8C598CCF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BEDCF2BF-C549-894A-94CE-448D0C0F5EC1}" type="doc">
      <dgm:prSet loTypeId="urn:microsoft.com/office/officeart/2005/8/layout/chevron1" loCatId="" qsTypeId="urn:microsoft.com/office/officeart/2005/8/quickstyle/simple4" qsCatId="simple" csTypeId="urn:microsoft.com/office/officeart/2005/8/colors/accent1_2" csCatId="accent1" phldr="1"/>
      <dgm:spPr/>
    </dgm:pt>
    <dgm:pt modelId="{DD624DB2-2365-D140-9885-8EA41C255F71}">
      <dgm:prSet phldrT="[Text]"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2000" b="1" dirty="0" smtClean="0">
              <a:solidFill>
                <a:srgbClr val="171515"/>
              </a:solidFill>
            </a:rPr>
            <a:t>Job hunting</a:t>
          </a:r>
          <a:endParaRPr lang="en-US" sz="2000" dirty="0"/>
        </a:p>
      </dgm:t>
    </dgm:pt>
    <dgm:pt modelId="{7779C6FB-7670-BE48-A6B8-2386C8E62FE7}" type="parTrans" cxnId="{A24474B2-ED87-DC40-BA5A-AB612D6689D5}">
      <dgm:prSet/>
      <dgm:spPr/>
      <dgm:t>
        <a:bodyPr/>
        <a:lstStyle/>
        <a:p>
          <a:endParaRPr lang="en-US"/>
        </a:p>
      </dgm:t>
    </dgm:pt>
    <dgm:pt modelId="{4F94097E-AE6D-DD4C-A5C3-1895ED6DBBAA}" type="sibTrans" cxnId="{A24474B2-ED87-DC40-BA5A-AB612D6689D5}">
      <dgm:prSet/>
      <dgm:spPr/>
      <dgm:t>
        <a:bodyPr/>
        <a:lstStyle/>
        <a:p>
          <a:endParaRPr lang="en-US"/>
        </a:p>
      </dgm:t>
    </dgm:pt>
    <dgm:pt modelId="{887573C7-D64C-B149-9E37-F8A14A8B8A5C}" type="pres">
      <dgm:prSet presAssocID="{BEDCF2BF-C549-894A-94CE-448D0C0F5EC1}" presName="Name0" presStyleCnt="0">
        <dgm:presLayoutVars>
          <dgm:dir/>
          <dgm:animLvl val="lvl"/>
          <dgm:resizeHandles val="exact"/>
        </dgm:presLayoutVars>
      </dgm:prSet>
      <dgm:spPr/>
    </dgm:pt>
    <dgm:pt modelId="{C4DBA0D8-7289-BD4B-A7B0-6D4B8C598CCF}" type="pres">
      <dgm:prSet presAssocID="{DD624DB2-2365-D140-9885-8EA41C255F71}" presName="parTxOnly" presStyleLbl="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24474B2-ED87-DC40-BA5A-AB612D6689D5}" srcId="{BEDCF2BF-C549-894A-94CE-448D0C0F5EC1}" destId="{DD624DB2-2365-D140-9885-8EA41C255F71}" srcOrd="0" destOrd="0" parTransId="{7779C6FB-7670-BE48-A6B8-2386C8E62FE7}" sibTransId="{4F94097E-AE6D-DD4C-A5C3-1895ED6DBBAA}"/>
    <dgm:cxn modelId="{021ED399-8C98-DB41-9B50-748C599AA389}" type="presOf" srcId="{DD624DB2-2365-D140-9885-8EA41C255F71}" destId="{C4DBA0D8-7289-BD4B-A7B0-6D4B8C598CCF}" srcOrd="0" destOrd="0" presId="urn:microsoft.com/office/officeart/2005/8/layout/chevron1"/>
    <dgm:cxn modelId="{52AA50E3-4136-EA43-9EDD-83D7A0671CF2}" type="presOf" srcId="{BEDCF2BF-C549-894A-94CE-448D0C0F5EC1}" destId="{887573C7-D64C-B149-9E37-F8A14A8B8A5C}" srcOrd="0" destOrd="0" presId="urn:microsoft.com/office/officeart/2005/8/layout/chevron1"/>
    <dgm:cxn modelId="{7CDFEF1A-0BDD-B648-8323-B295AE7AD024}" type="presParOf" srcId="{887573C7-D64C-B149-9E37-F8A14A8B8A5C}" destId="{C4DBA0D8-7289-BD4B-A7B0-6D4B8C598CCF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BEDCF2BF-C549-894A-94CE-448D0C0F5EC1}" type="doc">
      <dgm:prSet loTypeId="urn:microsoft.com/office/officeart/2005/8/layout/chevron1" loCatId="" qsTypeId="urn:microsoft.com/office/officeart/2005/8/quickstyle/simple4" qsCatId="simple" csTypeId="urn:microsoft.com/office/officeart/2005/8/colors/accent1_2" csCatId="accent1" phldr="1"/>
      <dgm:spPr/>
    </dgm:pt>
    <dgm:pt modelId="{DD624DB2-2365-D140-9885-8EA41C255F71}">
      <dgm:prSet phldrT="[Text]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b="1" dirty="0" smtClean="0">
              <a:solidFill>
                <a:schemeClr val="accent3">
                  <a:lumMod val="10000"/>
                </a:schemeClr>
              </a:solidFill>
            </a:rPr>
            <a:t>Half a year outside Academia</a:t>
          </a:r>
          <a:endParaRPr lang="en-US" dirty="0"/>
        </a:p>
      </dgm:t>
    </dgm:pt>
    <dgm:pt modelId="{7779C6FB-7670-BE48-A6B8-2386C8E62FE7}" type="parTrans" cxnId="{A24474B2-ED87-DC40-BA5A-AB612D6689D5}">
      <dgm:prSet/>
      <dgm:spPr/>
      <dgm:t>
        <a:bodyPr/>
        <a:lstStyle/>
        <a:p>
          <a:endParaRPr lang="en-US"/>
        </a:p>
      </dgm:t>
    </dgm:pt>
    <dgm:pt modelId="{4F94097E-AE6D-DD4C-A5C3-1895ED6DBBAA}" type="sibTrans" cxnId="{A24474B2-ED87-DC40-BA5A-AB612D6689D5}">
      <dgm:prSet/>
      <dgm:spPr/>
      <dgm:t>
        <a:bodyPr/>
        <a:lstStyle/>
        <a:p>
          <a:endParaRPr lang="en-US"/>
        </a:p>
      </dgm:t>
    </dgm:pt>
    <dgm:pt modelId="{887573C7-D64C-B149-9E37-F8A14A8B8A5C}" type="pres">
      <dgm:prSet presAssocID="{BEDCF2BF-C549-894A-94CE-448D0C0F5EC1}" presName="Name0" presStyleCnt="0">
        <dgm:presLayoutVars>
          <dgm:dir/>
          <dgm:animLvl val="lvl"/>
          <dgm:resizeHandles val="exact"/>
        </dgm:presLayoutVars>
      </dgm:prSet>
      <dgm:spPr/>
    </dgm:pt>
    <dgm:pt modelId="{C4DBA0D8-7289-BD4B-A7B0-6D4B8C598CCF}" type="pres">
      <dgm:prSet presAssocID="{DD624DB2-2365-D140-9885-8EA41C255F71}" presName="parTxOnly" presStyleLbl="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6023AF4-0A41-5843-BC12-A45871C9EF3A}" type="presOf" srcId="{BEDCF2BF-C549-894A-94CE-448D0C0F5EC1}" destId="{887573C7-D64C-B149-9E37-F8A14A8B8A5C}" srcOrd="0" destOrd="0" presId="urn:microsoft.com/office/officeart/2005/8/layout/chevron1"/>
    <dgm:cxn modelId="{A24474B2-ED87-DC40-BA5A-AB612D6689D5}" srcId="{BEDCF2BF-C549-894A-94CE-448D0C0F5EC1}" destId="{DD624DB2-2365-D140-9885-8EA41C255F71}" srcOrd="0" destOrd="0" parTransId="{7779C6FB-7670-BE48-A6B8-2386C8E62FE7}" sibTransId="{4F94097E-AE6D-DD4C-A5C3-1895ED6DBBAA}"/>
    <dgm:cxn modelId="{19553F4D-41BE-764D-B62D-7ADD0825D54F}" type="presOf" srcId="{DD624DB2-2365-D140-9885-8EA41C255F71}" destId="{C4DBA0D8-7289-BD4B-A7B0-6D4B8C598CCF}" srcOrd="0" destOrd="0" presId="urn:microsoft.com/office/officeart/2005/8/layout/chevron1"/>
    <dgm:cxn modelId="{ED62CABF-9B8E-3848-89D6-AB6EB66916AE}" type="presParOf" srcId="{887573C7-D64C-B149-9E37-F8A14A8B8A5C}" destId="{C4DBA0D8-7289-BD4B-A7B0-6D4B8C598CCF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DBA0D8-7289-BD4B-A7B0-6D4B8C598CCF}">
      <dsp:nvSpPr>
        <dsp:cNvPr id="0" name=""/>
        <dsp:cNvSpPr/>
      </dsp:nvSpPr>
      <dsp:spPr>
        <a:xfrm>
          <a:off x="0" y="93979"/>
          <a:ext cx="2133600" cy="853440"/>
        </a:xfrm>
        <a:prstGeom prst="chevron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rgbClr val="171515"/>
              </a:solidFill>
            </a:rPr>
            <a:t>Middle of PhD</a:t>
          </a:r>
          <a:endParaRPr lang="en-US" sz="2000" kern="1200" dirty="0"/>
        </a:p>
      </dsp:txBody>
      <dsp:txXfrm>
        <a:off x="426720" y="93979"/>
        <a:ext cx="1280160" cy="85344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DBA0D8-7289-BD4B-A7B0-6D4B8C598CCF}">
      <dsp:nvSpPr>
        <dsp:cNvPr id="0" name=""/>
        <dsp:cNvSpPr/>
      </dsp:nvSpPr>
      <dsp:spPr>
        <a:xfrm>
          <a:off x="0" y="93979"/>
          <a:ext cx="2133600" cy="853440"/>
        </a:xfrm>
        <a:prstGeom prst="chevron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rgbClr val="171515"/>
              </a:solidFill>
            </a:rPr>
            <a:t>Middle of PhD</a:t>
          </a:r>
          <a:endParaRPr lang="en-US" sz="2000" kern="1200" dirty="0"/>
        </a:p>
      </dsp:txBody>
      <dsp:txXfrm>
        <a:off x="426720" y="93979"/>
        <a:ext cx="1280160" cy="853440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DBA0D8-7289-BD4B-A7B0-6D4B8C598CCF}">
      <dsp:nvSpPr>
        <dsp:cNvPr id="0" name=""/>
        <dsp:cNvSpPr/>
      </dsp:nvSpPr>
      <dsp:spPr>
        <a:xfrm>
          <a:off x="0" y="93979"/>
          <a:ext cx="2133600" cy="853440"/>
        </a:xfrm>
        <a:prstGeom prst="chevron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68009" tIns="22670" rIns="22670" bIns="226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1" kern="1200" dirty="0" smtClean="0">
              <a:solidFill>
                <a:srgbClr val="171515"/>
              </a:solidFill>
            </a:rPr>
            <a:t>Graduation</a:t>
          </a:r>
          <a:endParaRPr lang="en-US" sz="1700" kern="1200" dirty="0"/>
        </a:p>
      </dsp:txBody>
      <dsp:txXfrm>
        <a:off x="426720" y="93979"/>
        <a:ext cx="1280160" cy="853440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DBA0D8-7289-BD4B-A7B0-6D4B8C598CCF}">
      <dsp:nvSpPr>
        <dsp:cNvPr id="0" name=""/>
        <dsp:cNvSpPr/>
      </dsp:nvSpPr>
      <dsp:spPr>
        <a:xfrm>
          <a:off x="0" y="93979"/>
          <a:ext cx="2133600" cy="853440"/>
        </a:xfrm>
        <a:prstGeom prst="chevron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rgbClr val="171515"/>
              </a:solidFill>
            </a:rPr>
            <a:t>Job hunting</a:t>
          </a:r>
          <a:endParaRPr lang="en-US" sz="2000" kern="1200" dirty="0"/>
        </a:p>
      </dsp:txBody>
      <dsp:txXfrm>
        <a:off x="426720" y="93979"/>
        <a:ext cx="1280160" cy="853440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DBA0D8-7289-BD4B-A7B0-6D4B8C598CCF}">
      <dsp:nvSpPr>
        <dsp:cNvPr id="0" name=""/>
        <dsp:cNvSpPr/>
      </dsp:nvSpPr>
      <dsp:spPr>
        <a:xfrm>
          <a:off x="0" y="93979"/>
          <a:ext cx="2133600" cy="853440"/>
        </a:xfrm>
        <a:prstGeom prst="chevron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accent3">
                  <a:lumMod val="10000"/>
                </a:schemeClr>
              </a:solidFill>
            </a:rPr>
            <a:t>Half a year outside Academia</a:t>
          </a:r>
          <a:endParaRPr lang="en-US" sz="1800" kern="1200" dirty="0"/>
        </a:p>
      </dsp:txBody>
      <dsp:txXfrm>
        <a:off x="426720" y="93979"/>
        <a:ext cx="1280160" cy="853440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34AA14-3146-3C47-8189-89AA450B5CBA}">
      <dsp:nvSpPr>
        <dsp:cNvPr id="0" name=""/>
        <dsp:cNvSpPr/>
      </dsp:nvSpPr>
      <dsp:spPr>
        <a:xfrm>
          <a:off x="0" y="0"/>
          <a:ext cx="6035040" cy="9789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b="1" kern="1200" dirty="0" smtClean="0">
              <a:solidFill>
                <a:schemeClr val="accent3">
                  <a:lumMod val="10000"/>
                </a:schemeClr>
              </a:solidFill>
            </a:rPr>
            <a:t>Financial </a:t>
          </a:r>
          <a:r>
            <a:rPr lang="en-US" sz="2700" b="1" kern="1200" dirty="0" smtClean="0">
              <a:solidFill>
                <a:schemeClr val="accent3">
                  <a:lumMod val="10000"/>
                </a:schemeClr>
              </a:solidFill>
            </a:rPr>
            <a:t>services</a:t>
          </a:r>
          <a:endParaRPr lang="en-US" sz="2700" b="1" kern="1200" dirty="0">
            <a:solidFill>
              <a:schemeClr val="accent3">
                <a:lumMod val="10000"/>
              </a:schemeClr>
            </a:solidFill>
          </a:endParaRPr>
        </a:p>
      </dsp:txBody>
      <dsp:txXfrm>
        <a:off x="28672" y="28672"/>
        <a:ext cx="4895978" cy="921585"/>
      </dsp:txXfrm>
    </dsp:sp>
    <dsp:sp modelId="{A4C995C4-F669-D648-88F1-FB0F5F8BD967}">
      <dsp:nvSpPr>
        <dsp:cNvPr id="0" name=""/>
        <dsp:cNvSpPr/>
      </dsp:nvSpPr>
      <dsp:spPr>
        <a:xfrm>
          <a:off x="505434" y="1156917"/>
          <a:ext cx="6035040" cy="9789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b="1" kern="1200" dirty="0" smtClean="0">
              <a:solidFill>
                <a:srgbClr val="171515"/>
              </a:solidFill>
            </a:rPr>
            <a:t>Project &amp; </a:t>
          </a:r>
          <a:r>
            <a:rPr lang="en-US" sz="2700" b="1" kern="1200" dirty="0" smtClean="0">
              <a:solidFill>
                <a:srgbClr val="171515"/>
              </a:solidFill>
            </a:rPr>
            <a:t>Business support</a:t>
          </a:r>
          <a:endParaRPr lang="en-US" sz="2700" b="1" kern="1200" dirty="0">
            <a:solidFill>
              <a:srgbClr val="171515"/>
            </a:solidFill>
          </a:endParaRPr>
        </a:p>
      </dsp:txBody>
      <dsp:txXfrm>
        <a:off x="534106" y="1185589"/>
        <a:ext cx="4835957" cy="921585"/>
      </dsp:txXfrm>
    </dsp:sp>
    <dsp:sp modelId="{C34DB328-98F4-304D-9B2D-34D05576963F}">
      <dsp:nvSpPr>
        <dsp:cNvPr id="0" name=""/>
        <dsp:cNvSpPr/>
      </dsp:nvSpPr>
      <dsp:spPr>
        <a:xfrm>
          <a:off x="1003325" y="2313834"/>
          <a:ext cx="6035040" cy="9789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b="1" kern="1200" dirty="0" smtClean="0">
              <a:solidFill>
                <a:srgbClr val="171515"/>
              </a:solidFill>
            </a:rPr>
            <a:t>Pre-production </a:t>
          </a:r>
          <a:r>
            <a:rPr lang="en-US" sz="2700" b="1" kern="1200" dirty="0" smtClean="0">
              <a:solidFill>
                <a:srgbClr val="171515"/>
              </a:solidFill>
            </a:rPr>
            <a:t>services</a:t>
          </a:r>
          <a:endParaRPr lang="en-US" sz="2700" kern="1200" dirty="0"/>
        </a:p>
      </dsp:txBody>
      <dsp:txXfrm>
        <a:off x="1031997" y="2342506"/>
        <a:ext cx="4843500" cy="921585"/>
      </dsp:txXfrm>
    </dsp:sp>
    <dsp:sp modelId="{EA305821-DCEB-3A45-8982-7CA7F762D08E}">
      <dsp:nvSpPr>
        <dsp:cNvPr id="0" name=""/>
        <dsp:cNvSpPr/>
      </dsp:nvSpPr>
      <dsp:spPr>
        <a:xfrm>
          <a:off x="1508759" y="3470751"/>
          <a:ext cx="6035040" cy="9789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b="1" kern="1200" dirty="0" smtClean="0">
              <a:solidFill>
                <a:srgbClr val="171515"/>
              </a:solidFill>
            </a:rPr>
            <a:t>Non-functional testing</a:t>
          </a:r>
          <a:endParaRPr lang="en-US" sz="2700" b="1" kern="1200" dirty="0">
            <a:solidFill>
              <a:srgbClr val="171515"/>
            </a:solidFill>
          </a:endParaRPr>
        </a:p>
      </dsp:txBody>
      <dsp:txXfrm>
        <a:off x="1537431" y="3499423"/>
        <a:ext cx="4835957" cy="921585"/>
      </dsp:txXfrm>
    </dsp:sp>
    <dsp:sp modelId="{247A3C15-2492-2749-A803-2244113A2253}">
      <dsp:nvSpPr>
        <dsp:cNvPr id="0" name=""/>
        <dsp:cNvSpPr/>
      </dsp:nvSpPr>
      <dsp:spPr>
        <a:xfrm>
          <a:off x="5398735" y="749771"/>
          <a:ext cx="636304" cy="636304"/>
        </a:xfrm>
        <a:prstGeom prst="downArrow">
          <a:avLst>
            <a:gd name="adj1" fmla="val 55000"/>
            <a:gd name="adj2" fmla="val 45000"/>
          </a:avLst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36830" tIns="36830" rIns="36830" bIns="36830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900" kern="1200"/>
        </a:p>
      </dsp:txBody>
      <dsp:txXfrm>
        <a:off x="5541903" y="749771"/>
        <a:ext cx="349968" cy="478819"/>
      </dsp:txXfrm>
    </dsp:sp>
    <dsp:sp modelId="{B85CBE98-A714-2C4E-8D41-72C3B65BCE09}">
      <dsp:nvSpPr>
        <dsp:cNvPr id="0" name=""/>
        <dsp:cNvSpPr/>
      </dsp:nvSpPr>
      <dsp:spPr>
        <a:xfrm>
          <a:off x="5904170" y="1906688"/>
          <a:ext cx="636304" cy="636304"/>
        </a:xfrm>
        <a:prstGeom prst="downArrow">
          <a:avLst>
            <a:gd name="adj1" fmla="val 55000"/>
            <a:gd name="adj2" fmla="val 45000"/>
          </a:avLst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36830" tIns="36830" rIns="36830" bIns="36830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900" kern="1200"/>
        </a:p>
      </dsp:txBody>
      <dsp:txXfrm>
        <a:off x="6047338" y="1906688"/>
        <a:ext cx="349968" cy="478819"/>
      </dsp:txXfrm>
    </dsp:sp>
    <dsp:sp modelId="{E512DE43-DCCC-D24B-B83C-9272A3183DE6}">
      <dsp:nvSpPr>
        <dsp:cNvPr id="0" name=""/>
        <dsp:cNvSpPr/>
      </dsp:nvSpPr>
      <dsp:spPr>
        <a:xfrm>
          <a:off x="6402061" y="3063605"/>
          <a:ext cx="636304" cy="636304"/>
        </a:xfrm>
        <a:prstGeom prst="downArrow">
          <a:avLst>
            <a:gd name="adj1" fmla="val 55000"/>
            <a:gd name="adj2" fmla="val 45000"/>
          </a:avLst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36830" tIns="36830" rIns="36830" bIns="36830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900" kern="1200"/>
        </a:p>
      </dsp:txBody>
      <dsp:txXfrm>
        <a:off x="6545229" y="3063605"/>
        <a:ext cx="349968" cy="478819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60092B5-6898-084F-AAC3-DAD18ABCFF4E}">
      <dsp:nvSpPr>
        <dsp:cNvPr id="0" name=""/>
        <dsp:cNvSpPr/>
      </dsp:nvSpPr>
      <dsp:spPr>
        <a:xfrm>
          <a:off x="704882" y="2124000"/>
          <a:ext cx="461218" cy="13182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30609" y="0"/>
              </a:lnTo>
              <a:lnTo>
                <a:pt x="230609" y="1318269"/>
              </a:lnTo>
              <a:lnTo>
                <a:pt x="461218" y="1318269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900576" y="2748219"/>
        <a:ext cx="69831" cy="69831"/>
      </dsp:txXfrm>
    </dsp:sp>
    <dsp:sp modelId="{5EE5D264-1491-2A4A-BB7E-6DAE785C4AD6}">
      <dsp:nvSpPr>
        <dsp:cNvPr id="0" name=""/>
        <dsp:cNvSpPr/>
      </dsp:nvSpPr>
      <dsp:spPr>
        <a:xfrm>
          <a:off x="704882" y="2124000"/>
          <a:ext cx="461218" cy="4394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30609" y="0"/>
              </a:lnTo>
              <a:lnTo>
                <a:pt x="230609" y="439423"/>
              </a:lnTo>
              <a:lnTo>
                <a:pt x="461218" y="439423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919566" y="2327785"/>
        <a:ext cx="31851" cy="31851"/>
      </dsp:txXfrm>
    </dsp:sp>
    <dsp:sp modelId="{6077DA98-B47F-2843-9C2B-8364DE8D8BF8}">
      <dsp:nvSpPr>
        <dsp:cNvPr id="0" name=""/>
        <dsp:cNvSpPr/>
      </dsp:nvSpPr>
      <dsp:spPr>
        <a:xfrm>
          <a:off x="704882" y="1684576"/>
          <a:ext cx="461218" cy="439423"/>
        </a:xfrm>
        <a:custGeom>
          <a:avLst/>
          <a:gdLst/>
          <a:ahLst/>
          <a:cxnLst/>
          <a:rect l="0" t="0" r="0" b="0"/>
          <a:pathLst>
            <a:path>
              <a:moveTo>
                <a:pt x="0" y="439423"/>
              </a:moveTo>
              <a:lnTo>
                <a:pt x="230609" y="439423"/>
              </a:lnTo>
              <a:lnTo>
                <a:pt x="230609" y="0"/>
              </a:lnTo>
              <a:lnTo>
                <a:pt x="461218" y="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919566" y="1888362"/>
        <a:ext cx="31851" cy="31851"/>
      </dsp:txXfrm>
    </dsp:sp>
    <dsp:sp modelId="{E8EC22DD-3337-A648-9871-4DB7EF236BF9}">
      <dsp:nvSpPr>
        <dsp:cNvPr id="0" name=""/>
        <dsp:cNvSpPr/>
      </dsp:nvSpPr>
      <dsp:spPr>
        <a:xfrm>
          <a:off x="704882" y="805730"/>
          <a:ext cx="461218" cy="1318269"/>
        </a:xfrm>
        <a:custGeom>
          <a:avLst/>
          <a:gdLst/>
          <a:ahLst/>
          <a:cxnLst/>
          <a:rect l="0" t="0" r="0" b="0"/>
          <a:pathLst>
            <a:path>
              <a:moveTo>
                <a:pt x="0" y="1318269"/>
              </a:moveTo>
              <a:lnTo>
                <a:pt x="230609" y="1318269"/>
              </a:lnTo>
              <a:lnTo>
                <a:pt x="230609" y="0"/>
              </a:lnTo>
              <a:lnTo>
                <a:pt x="461218" y="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900576" y="1429949"/>
        <a:ext cx="69831" cy="69831"/>
      </dsp:txXfrm>
    </dsp:sp>
    <dsp:sp modelId="{19A68A7C-00D8-044C-983E-D772DD470EA9}">
      <dsp:nvSpPr>
        <dsp:cNvPr id="0" name=""/>
        <dsp:cNvSpPr/>
      </dsp:nvSpPr>
      <dsp:spPr>
        <a:xfrm rot="16200000">
          <a:off x="-1496859" y="1772461"/>
          <a:ext cx="3700406" cy="703077"/>
        </a:xfrm>
        <a:prstGeom prst="rect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vert" wrap="square" lIns="11430" tIns="11430" rIns="11430" bIns="11430" numCol="1" spcCol="1270" anchor="ctr" anchorCtr="0">
          <a:noAutofit/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pPr lvl="0" algn="ctr" defTabSz="7778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5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P</a:t>
          </a:r>
        </a:p>
        <a:p>
          <a:pPr lvl="0" algn="ctr" defTabSz="7778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5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E</a:t>
          </a:r>
        </a:p>
        <a:p>
          <a:pPr lvl="0" algn="ctr" defTabSz="7778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5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R</a:t>
          </a:r>
        </a:p>
        <a:p>
          <a:pPr lvl="0" algn="ctr" defTabSz="7778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5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F</a:t>
          </a:r>
        </a:p>
        <a:p>
          <a:pPr lvl="0" algn="ctr" defTabSz="7778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5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O</a:t>
          </a:r>
        </a:p>
        <a:p>
          <a:pPr lvl="0" algn="ctr" defTabSz="7778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5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R</a:t>
          </a:r>
        </a:p>
        <a:p>
          <a:pPr lvl="0" algn="ctr" defTabSz="7778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5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M</a:t>
          </a:r>
        </a:p>
        <a:p>
          <a:pPr lvl="0" algn="ctr" defTabSz="7778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5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A</a:t>
          </a:r>
        </a:p>
        <a:p>
          <a:pPr lvl="0" algn="ctr" defTabSz="7778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5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N</a:t>
          </a:r>
        </a:p>
        <a:p>
          <a:pPr lvl="0" algn="ctr" defTabSz="7778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5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C</a:t>
          </a:r>
        </a:p>
        <a:p>
          <a:pPr lvl="0" algn="ctr" defTabSz="7778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5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E</a:t>
          </a:r>
          <a:endParaRPr lang="en-US" sz="1750" b="1" kern="1200" cap="all" spc="0" dirty="0">
            <a:ln/>
            <a:solidFill>
              <a:srgbClr val="171515"/>
            </a:solidFill>
            <a:effectLst>
              <a:outerShdw blurRad="19685" dist="12700" dir="5400000" algn="tl" rotWithShape="0">
                <a:schemeClr val="accent1">
                  <a:satMod val="130000"/>
                  <a:alpha val="60000"/>
                </a:schemeClr>
              </a:outerShdw>
              <a:reflection blurRad="10000" stA="55000" endPos="48000" dist="500" dir="5400000" sy="-100000" algn="bl" rotWithShape="0"/>
            </a:effectLst>
          </a:endParaRPr>
        </a:p>
      </dsp:txBody>
      <dsp:txXfrm>
        <a:off x="-1496859" y="1772461"/>
        <a:ext cx="3700406" cy="703077"/>
      </dsp:txXfrm>
    </dsp:sp>
    <dsp:sp modelId="{EFDD6FF7-05E1-3447-AB0D-066445AC021F}">
      <dsp:nvSpPr>
        <dsp:cNvPr id="0" name=""/>
        <dsp:cNvSpPr/>
      </dsp:nvSpPr>
      <dsp:spPr>
        <a:xfrm>
          <a:off x="1166101" y="454191"/>
          <a:ext cx="2306093" cy="703077"/>
        </a:xfrm>
        <a:prstGeom prst="rect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kern="1200" cap="all" spc="0" dirty="0" smtClean="0">
              <a:ln/>
              <a:solidFill>
                <a:schemeClr val="accent3">
                  <a:lumMod val="10000"/>
                </a:schemeClr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  <a:latin typeface="Herculanum"/>
              <a:cs typeface="Herculanum"/>
            </a:rPr>
            <a:t>L</a:t>
          </a:r>
          <a:r>
            <a:rPr lang="en-US" sz="2000" b="1" kern="1200" dirty="0" smtClean="0">
              <a:solidFill>
                <a:srgbClr val="171515"/>
              </a:solidFill>
            </a:rPr>
            <a:t>oad</a:t>
          </a:r>
          <a:endParaRPr lang="en-US" sz="2000" b="1" kern="1200" dirty="0">
            <a:solidFill>
              <a:srgbClr val="171515"/>
            </a:solidFill>
          </a:endParaRPr>
        </a:p>
      </dsp:txBody>
      <dsp:txXfrm>
        <a:off x="1166101" y="454191"/>
        <a:ext cx="2306093" cy="703077"/>
      </dsp:txXfrm>
    </dsp:sp>
    <dsp:sp modelId="{E4C677CA-2070-524A-8B8F-356338D7F1F0}">
      <dsp:nvSpPr>
        <dsp:cNvPr id="0" name=""/>
        <dsp:cNvSpPr/>
      </dsp:nvSpPr>
      <dsp:spPr>
        <a:xfrm>
          <a:off x="1166101" y="1333038"/>
          <a:ext cx="2306093" cy="703077"/>
        </a:xfrm>
        <a:prstGeom prst="rect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  <a:latin typeface="Herculanum"/>
              <a:cs typeface="Herculanum"/>
            </a:rPr>
            <a:t>E</a:t>
          </a:r>
          <a:r>
            <a:rPr lang="en-US" sz="2000" b="1" kern="1200" dirty="0" smtClean="0">
              <a:solidFill>
                <a:srgbClr val="171515"/>
              </a:solidFill>
            </a:rPr>
            <a:t>ndurance</a:t>
          </a:r>
          <a:endParaRPr lang="en-US" sz="2000" b="1" kern="1200" dirty="0">
            <a:solidFill>
              <a:srgbClr val="171515"/>
            </a:solidFill>
          </a:endParaRPr>
        </a:p>
      </dsp:txBody>
      <dsp:txXfrm>
        <a:off x="1166101" y="1333038"/>
        <a:ext cx="2306093" cy="703077"/>
      </dsp:txXfrm>
    </dsp:sp>
    <dsp:sp modelId="{CA8B143F-4775-2649-B3D6-28DEA98AA7BF}">
      <dsp:nvSpPr>
        <dsp:cNvPr id="0" name=""/>
        <dsp:cNvSpPr/>
      </dsp:nvSpPr>
      <dsp:spPr>
        <a:xfrm>
          <a:off x="1166101" y="2211884"/>
          <a:ext cx="2306093" cy="703077"/>
        </a:xfrm>
        <a:prstGeom prst="rect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  <a:latin typeface="Herculanum"/>
              <a:cs typeface="Herculanum"/>
            </a:rPr>
            <a:t>S</a:t>
          </a:r>
          <a:r>
            <a:rPr lang="en-US" sz="2000" b="1" kern="1200" dirty="0" smtClean="0">
              <a:solidFill>
                <a:srgbClr val="171515"/>
              </a:solidFill>
            </a:rPr>
            <a:t>tress</a:t>
          </a:r>
          <a:endParaRPr lang="en-US" sz="2000" b="1" kern="1200" dirty="0">
            <a:solidFill>
              <a:srgbClr val="171515"/>
            </a:solidFill>
          </a:endParaRPr>
        </a:p>
      </dsp:txBody>
      <dsp:txXfrm>
        <a:off x="1166101" y="2211884"/>
        <a:ext cx="2306093" cy="703077"/>
      </dsp:txXfrm>
    </dsp:sp>
    <dsp:sp modelId="{D436739C-FFD7-1A49-8888-38D4708EDFBE}">
      <dsp:nvSpPr>
        <dsp:cNvPr id="0" name=""/>
        <dsp:cNvSpPr/>
      </dsp:nvSpPr>
      <dsp:spPr>
        <a:xfrm>
          <a:off x="1166101" y="3090731"/>
          <a:ext cx="2306093" cy="703077"/>
        </a:xfrm>
        <a:prstGeom prst="rect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  <a:latin typeface="Herculanum"/>
              <a:cs typeface="Herculanum"/>
            </a:rPr>
            <a:t>S</a:t>
          </a:r>
          <a:r>
            <a:rPr lang="en-US" sz="2000" b="1" kern="1200" dirty="0" smtClean="0">
              <a:solidFill>
                <a:srgbClr val="171515"/>
              </a:solidFill>
            </a:rPr>
            <a:t>pike</a:t>
          </a:r>
          <a:endParaRPr lang="en-US" sz="2000" b="1" kern="1200" dirty="0">
            <a:solidFill>
              <a:srgbClr val="171515"/>
            </a:solidFill>
          </a:endParaRPr>
        </a:p>
      </dsp:txBody>
      <dsp:txXfrm>
        <a:off x="1166101" y="3090731"/>
        <a:ext cx="2306093" cy="703077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60092B5-6898-084F-AAC3-DAD18ABCFF4E}">
      <dsp:nvSpPr>
        <dsp:cNvPr id="0" name=""/>
        <dsp:cNvSpPr/>
      </dsp:nvSpPr>
      <dsp:spPr>
        <a:xfrm>
          <a:off x="704882" y="2124000"/>
          <a:ext cx="461218" cy="13182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30609" y="0"/>
              </a:lnTo>
              <a:lnTo>
                <a:pt x="230609" y="1318269"/>
              </a:lnTo>
              <a:lnTo>
                <a:pt x="461218" y="1318269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900576" y="2748219"/>
        <a:ext cx="69831" cy="69831"/>
      </dsp:txXfrm>
    </dsp:sp>
    <dsp:sp modelId="{5EE5D264-1491-2A4A-BB7E-6DAE785C4AD6}">
      <dsp:nvSpPr>
        <dsp:cNvPr id="0" name=""/>
        <dsp:cNvSpPr/>
      </dsp:nvSpPr>
      <dsp:spPr>
        <a:xfrm>
          <a:off x="704882" y="2124000"/>
          <a:ext cx="461218" cy="4394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30609" y="0"/>
              </a:lnTo>
              <a:lnTo>
                <a:pt x="230609" y="439423"/>
              </a:lnTo>
              <a:lnTo>
                <a:pt x="461218" y="439423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919566" y="2327785"/>
        <a:ext cx="31851" cy="31851"/>
      </dsp:txXfrm>
    </dsp:sp>
    <dsp:sp modelId="{6077DA98-B47F-2843-9C2B-8364DE8D8BF8}">
      <dsp:nvSpPr>
        <dsp:cNvPr id="0" name=""/>
        <dsp:cNvSpPr/>
      </dsp:nvSpPr>
      <dsp:spPr>
        <a:xfrm>
          <a:off x="704882" y="1684576"/>
          <a:ext cx="461218" cy="439423"/>
        </a:xfrm>
        <a:custGeom>
          <a:avLst/>
          <a:gdLst/>
          <a:ahLst/>
          <a:cxnLst/>
          <a:rect l="0" t="0" r="0" b="0"/>
          <a:pathLst>
            <a:path>
              <a:moveTo>
                <a:pt x="0" y="439423"/>
              </a:moveTo>
              <a:lnTo>
                <a:pt x="230609" y="439423"/>
              </a:lnTo>
              <a:lnTo>
                <a:pt x="230609" y="0"/>
              </a:lnTo>
              <a:lnTo>
                <a:pt x="461218" y="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919566" y="1888362"/>
        <a:ext cx="31851" cy="31851"/>
      </dsp:txXfrm>
    </dsp:sp>
    <dsp:sp modelId="{E8EC22DD-3337-A648-9871-4DB7EF236BF9}">
      <dsp:nvSpPr>
        <dsp:cNvPr id="0" name=""/>
        <dsp:cNvSpPr/>
      </dsp:nvSpPr>
      <dsp:spPr>
        <a:xfrm>
          <a:off x="704882" y="805730"/>
          <a:ext cx="461218" cy="1318269"/>
        </a:xfrm>
        <a:custGeom>
          <a:avLst/>
          <a:gdLst/>
          <a:ahLst/>
          <a:cxnLst/>
          <a:rect l="0" t="0" r="0" b="0"/>
          <a:pathLst>
            <a:path>
              <a:moveTo>
                <a:pt x="0" y="1318269"/>
              </a:moveTo>
              <a:lnTo>
                <a:pt x="230609" y="1318269"/>
              </a:lnTo>
              <a:lnTo>
                <a:pt x="230609" y="0"/>
              </a:lnTo>
              <a:lnTo>
                <a:pt x="461218" y="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900576" y="1429949"/>
        <a:ext cx="69831" cy="69831"/>
      </dsp:txXfrm>
    </dsp:sp>
    <dsp:sp modelId="{19A68A7C-00D8-044C-983E-D772DD470EA9}">
      <dsp:nvSpPr>
        <dsp:cNvPr id="0" name=""/>
        <dsp:cNvSpPr/>
      </dsp:nvSpPr>
      <dsp:spPr>
        <a:xfrm rot="16200000">
          <a:off x="-1496859" y="1772461"/>
          <a:ext cx="3700406" cy="703077"/>
        </a:xfrm>
        <a:prstGeom prst="rect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vert" wrap="square" lIns="15240" tIns="15240" rIns="15240" bIns="15240" numCol="1" spcCol="1270" anchor="ctr" anchorCtr="0">
          <a:noAutofit/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S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E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C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U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R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I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T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Y</a:t>
          </a:r>
        </a:p>
      </dsp:txBody>
      <dsp:txXfrm>
        <a:off x="-1496859" y="1772461"/>
        <a:ext cx="3700406" cy="703077"/>
      </dsp:txXfrm>
    </dsp:sp>
    <dsp:sp modelId="{EFDD6FF7-05E1-3447-AB0D-066445AC021F}">
      <dsp:nvSpPr>
        <dsp:cNvPr id="0" name=""/>
        <dsp:cNvSpPr/>
      </dsp:nvSpPr>
      <dsp:spPr>
        <a:xfrm>
          <a:off x="1166101" y="454191"/>
          <a:ext cx="2306093" cy="703077"/>
        </a:xfrm>
        <a:prstGeom prst="rect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Application layer</a:t>
          </a:r>
          <a:endParaRPr lang="en-US" sz="2200" b="1" kern="1200" cap="all" spc="0" dirty="0">
            <a:ln/>
            <a:solidFill>
              <a:srgbClr val="171515"/>
            </a:solidFill>
            <a:effectLst>
              <a:outerShdw blurRad="19685" dist="12700" dir="5400000" algn="tl" rotWithShape="0">
                <a:schemeClr val="accent1">
                  <a:satMod val="130000"/>
                  <a:alpha val="60000"/>
                </a:schemeClr>
              </a:outerShdw>
              <a:reflection blurRad="10000" stA="55000" endPos="48000" dist="500" dir="5400000" sy="-100000" algn="bl" rotWithShape="0"/>
            </a:effectLst>
          </a:endParaRPr>
        </a:p>
      </dsp:txBody>
      <dsp:txXfrm>
        <a:off x="1166101" y="454191"/>
        <a:ext cx="2306093" cy="703077"/>
      </dsp:txXfrm>
    </dsp:sp>
    <dsp:sp modelId="{E4C677CA-2070-524A-8B8F-356338D7F1F0}">
      <dsp:nvSpPr>
        <dsp:cNvPr id="0" name=""/>
        <dsp:cNvSpPr/>
      </dsp:nvSpPr>
      <dsp:spPr>
        <a:xfrm>
          <a:off x="1166101" y="1333038"/>
          <a:ext cx="2306093" cy="703077"/>
        </a:xfrm>
        <a:prstGeom prst="rect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Network layer</a:t>
          </a:r>
          <a:endParaRPr lang="en-US" sz="2200" b="1" kern="1200" cap="all" spc="0" dirty="0">
            <a:ln/>
            <a:solidFill>
              <a:srgbClr val="171515"/>
            </a:solidFill>
            <a:effectLst>
              <a:outerShdw blurRad="19685" dist="12700" dir="5400000" algn="tl" rotWithShape="0">
                <a:schemeClr val="accent1">
                  <a:satMod val="130000"/>
                  <a:alpha val="60000"/>
                </a:schemeClr>
              </a:outerShdw>
              <a:reflection blurRad="10000" stA="55000" endPos="48000" dist="500" dir="5400000" sy="-100000" algn="bl" rotWithShape="0"/>
            </a:effectLst>
          </a:endParaRPr>
        </a:p>
      </dsp:txBody>
      <dsp:txXfrm>
        <a:off x="1166101" y="1333038"/>
        <a:ext cx="2306093" cy="703077"/>
      </dsp:txXfrm>
    </dsp:sp>
    <dsp:sp modelId="{CA8B143F-4775-2649-B3D6-28DEA98AA7BF}">
      <dsp:nvSpPr>
        <dsp:cNvPr id="0" name=""/>
        <dsp:cNvSpPr/>
      </dsp:nvSpPr>
      <dsp:spPr>
        <a:xfrm>
          <a:off x="1166101" y="2211884"/>
          <a:ext cx="2306093" cy="703077"/>
        </a:xfrm>
        <a:prstGeom prst="rect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Wireless</a:t>
          </a:r>
          <a:endParaRPr lang="en-US" sz="2400" b="1" kern="1200" cap="all" spc="0" dirty="0">
            <a:ln/>
            <a:solidFill>
              <a:srgbClr val="171515"/>
            </a:solidFill>
            <a:effectLst>
              <a:outerShdw blurRad="19685" dist="12700" dir="5400000" algn="tl" rotWithShape="0">
                <a:schemeClr val="accent1">
                  <a:satMod val="130000"/>
                  <a:alpha val="60000"/>
                </a:schemeClr>
              </a:outerShdw>
              <a:reflection blurRad="10000" stA="55000" endPos="48000" dist="500" dir="5400000" sy="-100000" algn="bl" rotWithShape="0"/>
            </a:effectLst>
          </a:endParaRPr>
        </a:p>
      </dsp:txBody>
      <dsp:txXfrm>
        <a:off x="1166101" y="2211884"/>
        <a:ext cx="2306093" cy="703077"/>
      </dsp:txXfrm>
    </dsp:sp>
    <dsp:sp modelId="{D436739C-FFD7-1A49-8888-38D4708EDFBE}">
      <dsp:nvSpPr>
        <dsp:cNvPr id="0" name=""/>
        <dsp:cNvSpPr/>
      </dsp:nvSpPr>
      <dsp:spPr>
        <a:xfrm>
          <a:off x="1166101" y="3090731"/>
          <a:ext cx="2306093" cy="703077"/>
        </a:xfrm>
        <a:prstGeom prst="rect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PCI DSS</a:t>
          </a:r>
          <a:endParaRPr lang="en-US" sz="2400" b="1" kern="1200" cap="all" spc="0" dirty="0">
            <a:ln/>
            <a:solidFill>
              <a:srgbClr val="171515"/>
            </a:solidFill>
            <a:effectLst>
              <a:outerShdw blurRad="19685" dist="12700" dir="5400000" algn="tl" rotWithShape="0">
                <a:schemeClr val="accent1">
                  <a:satMod val="130000"/>
                  <a:alpha val="60000"/>
                </a:schemeClr>
              </a:outerShdw>
              <a:reflection blurRad="10000" stA="55000" endPos="48000" dist="500" dir="5400000" sy="-100000" algn="bl" rotWithShape="0"/>
            </a:effectLst>
          </a:endParaRPr>
        </a:p>
      </dsp:txBody>
      <dsp:txXfrm>
        <a:off x="1166101" y="3090731"/>
        <a:ext cx="2306093" cy="703077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1A438A-5145-7A41-AE93-314D289C915B}">
      <dsp:nvSpPr>
        <dsp:cNvPr id="0" name=""/>
        <dsp:cNvSpPr/>
      </dsp:nvSpPr>
      <dsp:spPr>
        <a:xfrm>
          <a:off x="3814800" y="1761682"/>
          <a:ext cx="2087639" cy="7246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62317"/>
              </a:lnTo>
              <a:lnTo>
                <a:pt x="2087639" y="362317"/>
              </a:lnTo>
              <a:lnTo>
                <a:pt x="2087639" y="724635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9ADB8BD-7333-F54D-8076-2437A88D2A0B}">
      <dsp:nvSpPr>
        <dsp:cNvPr id="0" name=""/>
        <dsp:cNvSpPr/>
      </dsp:nvSpPr>
      <dsp:spPr>
        <a:xfrm>
          <a:off x="1727160" y="1761682"/>
          <a:ext cx="2087639" cy="724635"/>
        </a:xfrm>
        <a:custGeom>
          <a:avLst/>
          <a:gdLst/>
          <a:ahLst/>
          <a:cxnLst/>
          <a:rect l="0" t="0" r="0" b="0"/>
          <a:pathLst>
            <a:path>
              <a:moveTo>
                <a:pt x="2087639" y="0"/>
              </a:moveTo>
              <a:lnTo>
                <a:pt x="2087639" y="362317"/>
              </a:lnTo>
              <a:lnTo>
                <a:pt x="0" y="362317"/>
              </a:lnTo>
              <a:lnTo>
                <a:pt x="0" y="724635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D4B7F1-7568-5D4D-A6DA-1183CFC69214}">
      <dsp:nvSpPr>
        <dsp:cNvPr id="0" name=""/>
        <dsp:cNvSpPr/>
      </dsp:nvSpPr>
      <dsp:spPr>
        <a:xfrm>
          <a:off x="2089478" y="36360"/>
          <a:ext cx="3450643" cy="1725321"/>
        </a:xfrm>
        <a:prstGeom prst="rect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pPr lvl="0" algn="ctr" defTabSz="1333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OWASP ASVS 2.0/3.0</a:t>
          </a:r>
          <a:endParaRPr lang="en-US" sz="3000" b="1" kern="1200" cap="all" spc="0" dirty="0">
            <a:ln/>
            <a:solidFill>
              <a:srgbClr val="171515"/>
            </a:solidFill>
            <a:effectLst>
              <a:outerShdw blurRad="19685" dist="12700" dir="5400000" algn="tl" rotWithShape="0">
                <a:schemeClr val="accent1">
                  <a:satMod val="130000"/>
                  <a:alpha val="60000"/>
                </a:schemeClr>
              </a:outerShdw>
              <a:reflection blurRad="10000" stA="55000" endPos="48000" dist="500" dir="5400000" sy="-100000" algn="bl" rotWithShape="0"/>
            </a:effectLst>
          </a:endParaRPr>
        </a:p>
      </dsp:txBody>
      <dsp:txXfrm>
        <a:off x="2089478" y="36360"/>
        <a:ext cx="3450643" cy="1725321"/>
      </dsp:txXfrm>
    </dsp:sp>
    <dsp:sp modelId="{5E28BB19-10D0-764E-97CA-0B1F7E73AE07}">
      <dsp:nvSpPr>
        <dsp:cNvPr id="0" name=""/>
        <dsp:cNvSpPr/>
      </dsp:nvSpPr>
      <dsp:spPr>
        <a:xfrm>
          <a:off x="1839" y="2486317"/>
          <a:ext cx="3450643" cy="1725321"/>
        </a:xfrm>
        <a:prstGeom prst="rect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pPr lvl="0" algn="ctr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OWASP Top 10 </a:t>
          </a:r>
          <a:br>
            <a:rPr lang="en-US" sz="260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</a:br>
          <a:r>
            <a:rPr lang="en-US" sz="260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(Web applications</a:t>
          </a:r>
          <a:br>
            <a:rPr lang="en-US" sz="260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</a:br>
          <a:r>
            <a:rPr lang="en-US" sz="260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Web services)</a:t>
          </a:r>
          <a:endParaRPr lang="en-US" sz="2600" b="1" kern="1200" cap="all" spc="0" dirty="0">
            <a:ln/>
            <a:solidFill>
              <a:srgbClr val="171515"/>
            </a:solidFill>
            <a:effectLst>
              <a:outerShdw blurRad="19685" dist="12700" dir="5400000" algn="tl" rotWithShape="0">
                <a:schemeClr val="accent1">
                  <a:satMod val="130000"/>
                  <a:alpha val="60000"/>
                </a:schemeClr>
              </a:outerShdw>
              <a:reflection blurRad="10000" stA="55000" endPos="48000" dist="500" dir="5400000" sy="-100000" algn="bl" rotWithShape="0"/>
            </a:effectLst>
          </a:endParaRPr>
        </a:p>
      </dsp:txBody>
      <dsp:txXfrm>
        <a:off x="1839" y="2486317"/>
        <a:ext cx="3450643" cy="1725321"/>
      </dsp:txXfrm>
    </dsp:sp>
    <dsp:sp modelId="{72EF56FF-41C5-A84C-836B-1652B3BD63B9}">
      <dsp:nvSpPr>
        <dsp:cNvPr id="0" name=""/>
        <dsp:cNvSpPr/>
      </dsp:nvSpPr>
      <dsp:spPr>
        <a:xfrm>
          <a:off x="4177117" y="2486317"/>
          <a:ext cx="3450643" cy="1725321"/>
        </a:xfrm>
        <a:prstGeom prst="rect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pPr lvl="0" algn="ctr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kern="1200" cap="all" spc="0" dirty="0" smtClean="0">
              <a:ln/>
              <a:solidFill>
                <a:srgbClr val="171515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rPr>
            <a:t>The OWASP Code Review Top 9</a:t>
          </a:r>
          <a:endParaRPr lang="en-US" sz="2600" b="1" kern="1200" cap="all" spc="0" dirty="0">
            <a:ln/>
            <a:solidFill>
              <a:srgbClr val="171515"/>
            </a:solidFill>
            <a:effectLst>
              <a:outerShdw blurRad="19685" dist="12700" dir="5400000" algn="tl" rotWithShape="0">
                <a:schemeClr val="accent1">
                  <a:satMod val="130000"/>
                  <a:alpha val="60000"/>
                </a:schemeClr>
              </a:outerShdw>
              <a:reflection blurRad="10000" stA="55000" endPos="48000" dist="500" dir="5400000" sy="-100000" algn="bl" rotWithShape="0"/>
            </a:effectLst>
          </a:endParaRPr>
        </a:p>
      </dsp:txBody>
      <dsp:txXfrm>
        <a:off x="4177117" y="2486317"/>
        <a:ext cx="3450643" cy="172532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DBA0D8-7289-BD4B-A7B0-6D4B8C598CCF}">
      <dsp:nvSpPr>
        <dsp:cNvPr id="0" name=""/>
        <dsp:cNvSpPr/>
      </dsp:nvSpPr>
      <dsp:spPr>
        <a:xfrm>
          <a:off x="0" y="93979"/>
          <a:ext cx="2133600" cy="853440"/>
        </a:xfrm>
        <a:prstGeom prst="chevron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68009" tIns="22670" rIns="22670" bIns="226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1" kern="1200" dirty="0" smtClean="0">
              <a:solidFill>
                <a:srgbClr val="171515"/>
              </a:solidFill>
            </a:rPr>
            <a:t>Graduation</a:t>
          </a:r>
          <a:endParaRPr lang="en-US" sz="1700" kern="1200" dirty="0"/>
        </a:p>
      </dsp:txBody>
      <dsp:txXfrm>
        <a:off x="426720" y="93979"/>
        <a:ext cx="1280160" cy="85344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DBA0D8-7289-BD4B-A7B0-6D4B8C598CCF}">
      <dsp:nvSpPr>
        <dsp:cNvPr id="0" name=""/>
        <dsp:cNvSpPr/>
      </dsp:nvSpPr>
      <dsp:spPr>
        <a:xfrm>
          <a:off x="0" y="93979"/>
          <a:ext cx="2133600" cy="853440"/>
        </a:xfrm>
        <a:prstGeom prst="chevron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rgbClr val="171515"/>
              </a:solidFill>
            </a:rPr>
            <a:t>Job hunting</a:t>
          </a:r>
          <a:endParaRPr lang="en-US" sz="2000" kern="1200" dirty="0"/>
        </a:p>
      </dsp:txBody>
      <dsp:txXfrm>
        <a:off x="426720" y="93979"/>
        <a:ext cx="1280160" cy="85344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DBA0D8-7289-BD4B-A7B0-6D4B8C598CCF}">
      <dsp:nvSpPr>
        <dsp:cNvPr id="0" name=""/>
        <dsp:cNvSpPr/>
      </dsp:nvSpPr>
      <dsp:spPr>
        <a:xfrm>
          <a:off x="0" y="93979"/>
          <a:ext cx="2133600" cy="853440"/>
        </a:xfrm>
        <a:prstGeom prst="chevron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accent3">
                  <a:lumMod val="10000"/>
                </a:schemeClr>
              </a:solidFill>
            </a:rPr>
            <a:t>Half a year outside Academia</a:t>
          </a:r>
          <a:endParaRPr lang="en-US" sz="1800" kern="1200" dirty="0"/>
        </a:p>
      </dsp:txBody>
      <dsp:txXfrm>
        <a:off x="426720" y="93979"/>
        <a:ext cx="1280160" cy="85344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7F17147-C621-3B41-869A-7C2E6EB0FAC6}">
      <dsp:nvSpPr>
        <dsp:cNvPr id="0" name=""/>
        <dsp:cNvSpPr/>
      </dsp:nvSpPr>
      <dsp:spPr>
        <a:xfrm>
          <a:off x="1259840" y="0"/>
          <a:ext cx="1463040" cy="812800"/>
        </a:xfrm>
        <a:prstGeom prst="roundRect">
          <a:avLst>
            <a:gd name="adj" fmla="val 10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Monograph</a:t>
          </a:r>
          <a:endParaRPr lang="en-US" sz="1900" kern="1200" dirty="0"/>
        </a:p>
      </dsp:txBody>
      <dsp:txXfrm>
        <a:off x="1283646" y="23806"/>
        <a:ext cx="1415428" cy="765188"/>
      </dsp:txXfrm>
    </dsp:sp>
    <dsp:sp modelId="{D7B54F87-CD3C-AF4A-8CA7-F5B738AD9E81}">
      <dsp:nvSpPr>
        <dsp:cNvPr id="0" name=""/>
        <dsp:cNvSpPr/>
      </dsp:nvSpPr>
      <dsp:spPr>
        <a:xfrm>
          <a:off x="3373120" y="0"/>
          <a:ext cx="1463040" cy="812800"/>
        </a:xfrm>
        <a:prstGeom prst="roundRect">
          <a:avLst>
            <a:gd name="adj" fmla="val 10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Collection of articles</a:t>
          </a:r>
          <a:endParaRPr lang="en-US" sz="1900" kern="1200" dirty="0"/>
        </a:p>
      </dsp:txBody>
      <dsp:txXfrm>
        <a:off x="3396926" y="23806"/>
        <a:ext cx="1415428" cy="765188"/>
      </dsp:txXfrm>
    </dsp:sp>
    <dsp:sp modelId="{BF6CC8F9-0306-154F-8928-A0B3B23CB4B7}">
      <dsp:nvSpPr>
        <dsp:cNvPr id="0" name=""/>
        <dsp:cNvSpPr/>
      </dsp:nvSpPr>
      <dsp:spPr>
        <a:xfrm>
          <a:off x="2743200" y="3454400"/>
          <a:ext cx="609600" cy="609600"/>
        </a:xfrm>
        <a:prstGeom prst="triangle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3F3935C-653E-F346-B3CF-A43D50A5F8BA}">
      <dsp:nvSpPr>
        <dsp:cNvPr id="0" name=""/>
        <dsp:cNvSpPr/>
      </dsp:nvSpPr>
      <dsp:spPr>
        <a:xfrm>
          <a:off x="1219200" y="3199180"/>
          <a:ext cx="3657600" cy="247091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0E2D590-7FC1-0C44-83B5-4CFCC5E9C1BE}">
      <dsp:nvSpPr>
        <dsp:cNvPr id="0" name=""/>
        <dsp:cNvSpPr/>
      </dsp:nvSpPr>
      <dsp:spPr>
        <a:xfrm>
          <a:off x="3373120" y="2129536"/>
          <a:ext cx="1463040" cy="1040384"/>
        </a:xfrm>
        <a:prstGeom prst="round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Time</a:t>
          </a:r>
          <a:endParaRPr lang="en-US" sz="2600" kern="1200" dirty="0"/>
        </a:p>
      </dsp:txBody>
      <dsp:txXfrm>
        <a:off x="3423907" y="2180323"/>
        <a:ext cx="1361466" cy="938810"/>
      </dsp:txXfrm>
    </dsp:sp>
    <dsp:sp modelId="{EEADC8A9-A71A-384C-9776-F67F0EE61F37}">
      <dsp:nvSpPr>
        <dsp:cNvPr id="0" name=""/>
        <dsp:cNvSpPr/>
      </dsp:nvSpPr>
      <dsp:spPr>
        <a:xfrm>
          <a:off x="3373120" y="1040383"/>
          <a:ext cx="1463040" cy="1040384"/>
        </a:xfrm>
        <a:prstGeom prst="round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Peer review</a:t>
          </a:r>
          <a:endParaRPr lang="en-US" sz="2600" kern="1200" dirty="0"/>
        </a:p>
      </dsp:txBody>
      <dsp:txXfrm>
        <a:off x="3423907" y="1091170"/>
        <a:ext cx="1361466" cy="938810"/>
      </dsp:txXfrm>
    </dsp:sp>
    <dsp:sp modelId="{622FFE15-F7EF-8C4F-9566-74ACFD939D4F}">
      <dsp:nvSpPr>
        <dsp:cNvPr id="0" name=""/>
        <dsp:cNvSpPr/>
      </dsp:nvSpPr>
      <dsp:spPr>
        <a:xfrm>
          <a:off x="1259840" y="2129536"/>
          <a:ext cx="1463040" cy="1040384"/>
        </a:xfrm>
        <a:prstGeom prst="round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Book</a:t>
          </a:r>
          <a:endParaRPr lang="en-US" sz="2600" kern="1200" dirty="0"/>
        </a:p>
      </dsp:txBody>
      <dsp:txXfrm>
        <a:off x="1310627" y="2180323"/>
        <a:ext cx="1361466" cy="938810"/>
      </dsp:txXfrm>
    </dsp:sp>
    <dsp:sp modelId="{97D44A32-6ECA-FE40-AB33-F43708581B9F}">
      <dsp:nvSpPr>
        <dsp:cNvPr id="0" name=""/>
        <dsp:cNvSpPr/>
      </dsp:nvSpPr>
      <dsp:spPr>
        <a:xfrm>
          <a:off x="1259840" y="1040383"/>
          <a:ext cx="1463040" cy="1040384"/>
        </a:xfrm>
        <a:prstGeom prst="round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Deep</a:t>
          </a:r>
          <a:endParaRPr lang="en-US" sz="2600" kern="1200" dirty="0"/>
        </a:p>
      </dsp:txBody>
      <dsp:txXfrm>
        <a:off x="1310627" y="1091170"/>
        <a:ext cx="1361466" cy="93881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DBA0D8-7289-BD4B-A7B0-6D4B8C598CCF}">
      <dsp:nvSpPr>
        <dsp:cNvPr id="0" name=""/>
        <dsp:cNvSpPr/>
      </dsp:nvSpPr>
      <dsp:spPr>
        <a:xfrm>
          <a:off x="0" y="93979"/>
          <a:ext cx="2133600" cy="853440"/>
        </a:xfrm>
        <a:prstGeom prst="chevron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rgbClr val="171515"/>
              </a:solidFill>
            </a:rPr>
            <a:t>Middle of PhD</a:t>
          </a:r>
          <a:endParaRPr lang="en-US" sz="2000" kern="1200" dirty="0"/>
        </a:p>
      </dsp:txBody>
      <dsp:txXfrm>
        <a:off x="426720" y="93979"/>
        <a:ext cx="1280160" cy="85344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DBA0D8-7289-BD4B-A7B0-6D4B8C598CCF}">
      <dsp:nvSpPr>
        <dsp:cNvPr id="0" name=""/>
        <dsp:cNvSpPr/>
      </dsp:nvSpPr>
      <dsp:spPr>
        <a:xfrm>
          <a:off x="0" y="93979"/>
          <a:ext cx="2133600" cy="853440"/>
        </a:xfrm>
        <a:prstGeom prst="chevron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68009" tIns="22670" rIns="22670" bIns="226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1" kern="1200" dirty="0" smtClean="0">
              <a:solidFill>
                <a:srgbClr val="171515"/>
              </a:solidFill>
            </a:rPr>
            <a:t>Graduation</a:t>
          </a:r>
          <a:endParaRPr lang="en-US" sz="1700" kern="1200" dirty="0"/>
        </a:p>
      </dsp:txBody>
      <dsp:txXfrm>
        <a:off x="426720" y="93979"/>
        <a:ext cx="1280160" cy="85344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DBA0D8-7289-BD4B-A7B0-6D4B8C598CCF}">
      <dsp:nvSpPr>
        <dsp:cNvPr id="0" name=""/>
        <dsp:cNvSpPr/>
      </dsp:nvSpPr>
      <dsp:spPr>
        <a:xfrm>
          <a:off x="0" y="93979"/>
          <a:ext cx="2133600" cy="853440"/>
        </a:xfrm>
        <a:prstGeom prst="chevron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rgbClr val="171515"/>
              </a:solidFill>
            </a:rPr>
            <a:t>Job hunting</a:t>
          </a:r>
          <a:endParaRPr lang="en-US" sz="2000" kern="1200" dirty="0"/>
        </a:p>
      </dsp:txBody>
      <dsp:txXfrm>
        <a:off x="426720" y="93979"/>
        <a:ext cx="1280160" cy="85344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DBA0D8-7289-BD4B-A7B0-6D4B8C598CCF}">
      <dsp:nvSpPr>
        <dsp:cNvPr id="0" name=""/>
        <dsp:cNvSpPr/>
      </dsp:nvSpPr>
      <dsp:spPr>
        <a:xfrm>
          <a:off x="0" y="93979"/>
          <a:ext cx="2133600" cy="853440"/>
        </a:xfrm>
        <a:prstGeom prst="chevron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accent3">
                  <a:lumMod val="10000"/>
                </a:schemeClr>
              </a:solidFill>
            </a:rPr>
            <a:t>Half a year outside Academia</a:t>
          </a:r>
          <a:endParaRPr lang="en-US" sz="1800" kern="1200" dirty="0"/>
        </a:p>
      </dsp:txBody>
      <dsp:txXfrm>
        <a:off x="426720" y="93979"/>
        <a:ext cx="1280160" cy="8534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balance1">
  <dgm:title val=""/>
  <dgm:desc val=""/>
  <dgm:catLst>
    <dgm:cat type="relationship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25" srcId="2" destId="23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2"/>
        <dgm:pt modelId="21"/>
        <dgm:pt modelId="22"/>
        <dgm:pt modelId="23"/>
      </dgm:ptLst>
      <dgm:cxnLst>
        <dgm:cxn modelId="4" srcId="0" destId="1" srcOrd="0" destOrd="0"/>
        <dgm:cxn modelId="5" srcId="0" destId="2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25" srcId="2" destId="21" srcOrd="0" destOrd="0"/>
        <dgm:cxn modelId="26" srcId="2" destId="22" srcOrd="0" destOrd="0"/>
        <dgm:cxn modelId="27" srcId="2" destId="23" srcOrd="0" destOrd="0"/>
      </dgm:cxnLst>
      <dgm:bg/>
      <dgm:whole/>
    </dgm:dataModel>
  </dgm:clrData>
  <dgm:layoutNode name="outerComposite">
    <dgm:varLst>
      <dgm:chMax val="2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>
      <dgm:constr type="h" for="ch" forName="parentComposite" refType="h" refFor="ch" refForName="dummyMaxCanvas" op="equ" fact="0.2"/>
      <dgm:constr type="t" for="ch" forName="parentComposite"/>
      <dgm:constr type="h" for="ch" forName="childrenComposite" refType="h" refFor="ch" refForName="dummyMaxCanvas" op="equ" fact="0.8"/>
      <dgm:constr type="t" for="ch" forName="childrenComposite" refType="h" refFor="ch" refForName="dummyMaxCanvas" fact="0.2"/>
    </dgm:constrLst>
    <dgm:ruleLst/>
    <dgm:layoutNode name="dummyMaxCanvas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arentComposite">
      <dgm:alg type="composite"/>
      <dgm:shape xmlns:r="http://schemas.openxmlformats.org/officeDocument/2006/relationships" r:blip="">
        <dgm:adjLst/>
      </dgm:shape>
      <dgm:presOf/>
      <dgm:constrLst>
        <dgm:constr type="w" for="ch" forName="parent1" refType="w" fact="0.36"/>
        <dgm:constr type="ctrX" for="ch" forName="parent1" refType="w" fact="0.24"/>
        <dgm:constr type="w" for="ch" forName="parent2" refType="w" fact="0.36"/>
        <dgm:constr type="ctrX" for="ch" forName="parent2" refType="w" fact="0.76"/>
        <dgm:constr type="primFontSz" for="ch" ptType="node" op="equ"/>
      </dgm:constrLst>
      <dgm:ruleLst/>
      <dgm:layoutNode name="parent1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arent2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st="2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</dgm:layoutNode>
    <dgm:layoutNode name="childrenComposite">
      <dgm:alg type="composite"/>
      <dgm:shape xmlns:r="http://schemas.openxmlformats.org/officeDocument/2006/relationships" r:blip="">
        <dgm:adjLst/>
      </dgm:shape>
      <dgm:presOf/>
      <dgm:constrLst>
        <dgm:constr type="primFontSz" for="ch" ptType="node" op="equ" val="65"/>
        <dgm:constr type="w" for="ch" forName="fulcrum" refType="w" fact="0.15"/>
        <dgm:constr type="h" for="ch" forName="fulcrum" refType="w" refFor="ch" refForName="fulcrum"/>
        <dgm:constr type="b" for="ch" forName="fulcrum" refType="h"/>
        <dgm:constr type="ctrX" for="ch" forName="fulcrum" refType="w" fact="0.5"/>
        <dgm:constr type="w" for="ch" forName="balance_00" refType="w" fact="0.9"/>
        <dgm:constr type="h" for="ch" forName="balance_00" refType="h" fact="0.076"/>
        <dgm:constr type="b" for="ch" forName="balance_00" refType="h" fact="0.81"/>
        <dgm:constr type="ctrX" for="ch" forName="balance_00" refType="w" fact="0.5"/>
        <dgm:constr type="w" for="ch" forName="balance_01" refType="w"/>
        <dgm:constr type="h" for="ch" forName="balance_01" refType="h" fact="0.157"/>
        <dgm:constr type="b" for="ch" forName="balance_01" refType="h" fact="0.85"/>
        <dgm:constr type="ctrX" for="ch" forName="balance_01" refType="w" fact="0.5"/>
        <dgm:constr type="w" for="ch" forName="balance_02" refType="w"/>
        <dgm:constr type="h" for="ch" forName="balance_02" refType="h" fact="0.157"/>
        <dgm:constr type="b" for="ch" forName="balance_02" refType="h" fact="0.85"/>
        <dgm:constr type="ctrX" for="ch" forName="balance_02" refType="w" fact="0.5"/>
        <dgm:constr type="w" for="ch" forName="balance_03" refType="w"/>
        <dgm:constr type="h" for="ch" forName="balance_03" refType="h" fact="0.157"/>
        <dgm:constr type="b" for="ch" forName="balance_03" refType="h" fact="0.85"/>
        <dgm:constr type="ctrX" for="ch" forName="balance_03" refType="w" fact="0.5"/>
        <dgm:constr type="w" for="ch" forName="balance_04" refType="w"/>
        <dgm:constr type="h" for="ch" forName="balance_04" refType="h" fact="0.157"/>
        <dgm:constr type="b" for="ch" forName="balance_04" refType="h" fact="0.85"/>
        <dgm:constr type="ctrX" for="ch" forName="balance_04" refType="w" fact="0.5"/>
        <dgm:constr type="w" for="ch" forName="balance_10" refType="w"/>
        <dgm:constr type="h" for="ch" forName="balance_10" refType="h" fact="0.157"/>
        <dgm:constr type="b" for="ch" forName="balance_10" refType="h" fact="0.85"/>
        <dgm:constr type="ctrX" for="ch" forName="balance_10" refType="w" fact="0.5"/>
        <dgm:constr type="w" for="ch" forName="balance_11" refType="w" fact="0.9"/>
        <dgm:constr type="h" for="ch" forName="balance_11" refType="h" fact="0.076"/>
        <dgm:constr type="b" for="ch" forName="balance_11" refType="h" fact="0.81"/>
        <dgm:constr type="ctrX" for="ch" forName="balance_11" refType="w" fact="0.5"/>
        <dgm:constr type="w" for="ch" forName="balance_12" refType="w"/>
        <dgm:constr type="h" for="ch" forName="balance_12" refType="h" fact="0.157"/>
        <dgm:constr type="b" for="ch" forName="balance_12" refType="h" fact="0.85"/>
        <dgm:constr type="ctrX" for="ch" forName="balance_12" refType="w" fact="0.5"/>
        <dgm:constr type="w" for="ch" forName="balance_13" refType="w"/>
        <dgm:constr type="h" for="ch" forName="balance_13" refType="h" fact="0.157"/>
        <dgm:constr type="b" for="ch" forName="balance_13" refType="h" fact="0.85"/>
        <dgm:constr type="ctrX" for="ch" forName="balance_13" refType="w" fact="0.5"/>
        <dgm:constr type="w" for="ch" forName="balance_14" refType="w"/>
        <dgm:constr type="h" for="ch" forName="balance_14" refType="h" fact="0.157"/>
        <dgm:constr type="b" for="ch" forName="balance_14" refType="h" fact="0.85"/>
        <dgm:constr type="ctrX" for="ch" forName="balance_14" refType="w" fact="0.5"/>
        <dgm:constr type="w" for="ch" forName="balance_20" refType="w"/>
        <dgm:constr type="h" for="ch" forName="balance_20" refType="h" fact="0.157"/>
        <dgm:constr type="b" for="ch" forName="balance_20" refType="h" fact="0.85"/>
        <dgm:constr type="ctrX" for="ch" forName="balance_20" refType="w" fact="0.5"/>
        <dgm:constr type="w" for="ch" forName="balance_21" refType="w"/>
        <dgm:constr type="h" for="ch" forName="balance_21" refType="h" fact="0.157"/>
        <dgm:constr type="b" for="ch" forName="balance_21" refType="h" fact="0.85"/>
        <dgm:constr type="ctrX" for="ch" forName="balance_21" refType="w" fact="0.5"/>
        <dgm:constr type="w" for="ch" forName="balance_22" refType="w" fact="0.9"/>
        <dgm:constr type="h" for="ch" forName="balance_22" refType="h" fact="0.076"/>
        <dgm:constr type="b" for="ch" forName="balance_22" refType="h" fact="0.81"/>
        <dgm:constr type="ctrX" for="ch" forName="balance_22" refType="w" fact="0.5"/>
        <dgm:constr type="w" for="ch" forName="balance_23" refType="w"/>
        <dgm:constr type="h" for="ch" forName="balance_23" refType="h" fact="0.157"/>
        <dgm:constr type="b" for="ch" forName="balance_23" refType="h" fact="0.85"/>
        <dgm:constr type="ctrX" for="ch" forName="balance_23" refType="w" fact="0.5"/>
        <dgm:constr type="w" for="ch" forName="balance_24" refType="w"/>
        <dgm:constr type="h" for="ch" forName="balance_24" refType="h" fact="0.157"/>
        <dgm:constr type="b" for="ch" forName="balance_24" refType="h" fact="0.85"/>
        <dgm:constr type="ctrX" for="ch" forName="balance_24" refType="w" fact="0.5"/>
        <dgm:constr type="w" for="ch" forName="balance_30" refType="w"/>
        <dgm:constr type="h" for="ch" forName="balance_30" refType="h" fact="0.157"/>
        <dgm:constr type="b" for="ch" forName="balance_30" refType="h" fact="0.85"/>
        <dgm:constr type="ctrX" for="ch" forName="balance_30" refType="w" fact="0.5"/>
        <dgm:constr type="w" for="ch" forName="balance_31" refType="w"/>
        <dgm:constr type="h" for="ch" forName="balance_31" refType="h" fact="0.157"/>
        <dgm:constr type="b" for="ch" forName="balance_31" refType="h" fact="0.85"/>
        <dgm:constr type="ctrX" for="ch" forName="balance_31" refType="w" fact="0.5"/>
        <dgm:constr type="w" for="ch" forName="balance_32" refType="w"/>
        <dgm:constr type="h" for="ch" forName="balance_32" refType="h" fact="0.157"/>
        <dgm:constr type="b" for="ch" forName="balance_32" refType="h" fact="0.85"/>
        <dgm:constr type="ctrX" for="ch" forName="balance_32" refType="w" fact="0.5"/>
        <dgm:constr type="w" for="ch" forName="balance_33" refType="w" fact="0.9"/>
        <dgm:constr type="h" for="ch" forName="balance_33" refType="h" fact="0.076"/>
        <dgm:constr type="b" for="ch" forName="balance_33" refType="h" fact="0.81"/>
        <dgm:constr type="ctrX" for="ch" forName="balance_33" refType="w" fact="0.5"/>
        <dgm:constr type="w" for="ch" forName="balance_34" refType="w"/>
        <dgm:constr type="h" for="ch" forName="balance_34" refType="h" fact="0.157"/>
        <dgm:constr type="b" for="ch" forName="balance_34" refType="h" fact="0.85"/>
        <dgm:constr type="ctrX" for="ch" forName="balance_34" refType="w" fact="0.5"/>
        <dgm:constr type="w" for="ch" forName="balance_40" refType="w"/>
        <dgm:constr type="h" for="ch" forName="balance_40" refType="h" fact="0.157"/>
        <dgm:constr type="b" for="ch" forName="balance_40" refType="h" fact="0.85"/>
        <dgm:constr type="ctrX" for="ch" forName="balance_40" refType="w" fact="0.5"/>
        <dgm:constr type="w" for="ch" forName="balance_41" refType="w"/>
        <dgm:constr type="h" for="ch" forName="balance_41" refType="h" fact="0.157"/>
        <dgm:constr type="b" for="ch" forName="balance_41" refType="h" fact="0.85"/>
        <dgm:constr type="ctrX" for="ch" forName="balance_41" refType="w" fact="0.5"/>
        <dgm:constr type="w" for="ch" forName="balance_42" refType="w"/>
        <dgm:constr type="h" for="ch" forName="balance_42" refType="h" fact="0.157"/>
        <dgm:constr type="b" for="ch" forName="balance_42" refType="h" fact="0.85"/>
        <dgm:constr type="ctrX" for="ch" forName="balance_42" refType="w" fact="0.5"/>
        <dgm:constr type="w" for="ch" forName="balance_43" refType="w"/>
        <dgm:constr type="h" for="ch" forName="balance_43" refType="h" fact="0.157"/>
        <dgm:constr type="b" for="ch" forName="balance_43" refType="h" fact="0.85"/>
        <dgm:constr type="ctrX" for="ch" forName="balance_43" refType="w" fact="0.5"/>
        <dgm:constr type="w" for="ch" forName="balance_44" refType="w" fact="0.9"/>
        <dgm:constr type="h" for="ch" forName="balance_44" refType="h" fact="0.076"/>
        <dgm:constr type="b" for="ch" forName="balance_44" refType="h" fact="0.81"/>
        <dgm:constr type="ctrX" for="ch" forName="balance_44" refType="w" fact="0.5"/>
        <dgm:constr type="w" for="ch" forName="right_01_1" refType="w" fact="0.4"/>
        <dgm:constr type="h" for="ch" forName="right_01_1" refType="h" fact="0.7"/>
        <dgm:constr type="b" for="ch" forName="right_01_1" refType="h" fact="0.76"/>
        <dgm:constr type="ctrX" for="ch" forName="right_01_1" refType="w" fact="0.78"/>
        <dgm:constr type="w" for="ch" forName="left_10_1" refType="w" fact="0.4"/>
        <dgm:constr type="h" for="ch" forName="left_10_1" refType="h" fact="0.7"/>
        <dgm:constr type="b" for="ch" forName="left_10_1" refType="h" fact="0.76"/>
        <dgm:constr type="ctrX" for="ch" forName="left_10_1" refType="w" fact="0.22"/>
        <dgm:constr type="w" for="ch" forName="right_11_1" refType="w" fact="0.36"/>
        <dgm:constr type="h" for="ch" forName="right_11_1" refType="h" fact="0.67"/>
        <dgm:constr type="b" for="ch" forName="right_11_1" refType="h" fact="0.725"/>
        <dgm:constr type="ctrX" for="ch" forName="right_11_1" refType="w" fact="0.76"/>
        <dgm:constr type="w" for="ch" forName="left_11_1" refType="w" fact="0.36"/>
        <dgm:constr type="h" for="ch" forName="left_11_1" refType="h" fact="0.67"/>
        <dgm:constr type="b" for="ch" forName="left_11_1" refType="h" fact="0.725"/>
        <dgm:constr type="ctrX" for="ch" forName="left_11_1" refType="w" fact="0.24"/>
        <dgm:constr type="w" for="ch" forName="right_02_1" refType="w" fact="0.388"/>
        <dgm:constr type="h" for="ch" forName="right_02_1" refType="h" fact="0.36"/>
        <dgm:constr type="b" for="ch" forName="right_02_1" refType="h" fact="0.76"/>
        <dgm:constr type="ctrX" for="ch" forName="right_02_1" refType="w" fact="0.77"/>
        <dgm:constr type="w" for="ch" forName="right_02_2" refType="w" fact="0.388"/>
        <dgm:constr type="h" for="ch" forName="right_02_2" refType="h" fact="0.36"/>
        <dgm:constr type="b" for="ch" forName="right_02_2" refType="h" fact="0.42"/>
        <dgm:constr type="ctrX" for="ch" forName="right_02_2" refType="w" fact="0.79"/>
        <dgm:constr type="w" for="ch" forName="left_20_1" refType="w" fact="0.388"/>
        <dgm:constr type="h" for="ch" forName="left_20_1" refType="h" fact="0.36"/>
        <dgm:constr type="b" for="ch" forName="left_20_1" refType="h" fact="0.76"/>
        <dgm:constr type="ctrX" for="ch" forName="left_20_1" refType="w" fact="0.23"/>
        <dgm:constr type="w" for="ch" forName="left_20_2" refType="w" fact="0.388"/>
        <dgm:constr type="h" for="ch" forName="left_20_2" refType="h" fact="0.36"/>
        <dgm:constr type="b" for="ch" forName="left_20_2" refType="h" fact="0.42"/>
        <dgm:constr type="ctrX" for="ch" forName="left_20_2" refType="w" fact="0.21"/>
        <dgm:constr type="w" for="ch" forName="right_12_1" refType="w" fact="0.388"/>
        <dgm:constr type="h" for="ch" forName="right_12_1" refType="h" fact="0.36"/>
        <dgm:constr type="b" for="ch" forName="right_12_1" refType="h" fact="0.76"/>
        <dgm:constr type="ctrX" for="ch" forName="right_12_1" refType="w" fact="0.77"/>
        <dgm:constr type="w" for="ch" forName="right_12_2" refType="w" fact="0.388"/>
        <dgm:constr type="h" for="ch" forName="right_12_2" refType="h" fact="0.36"/>
        <dgm:constr type="b" for="ch" forName="right_12_2" refType="h" fact="0.42"/>
        <dgm:constr type="ctrX" for="ch" forName="right_12_2" refType="w" fact="0.79"/>
        <dgm:constr type="w" for="ch" forName="left_12_1" refType="w" fact="0.388"/>
        <dgm:constr type="h" for="ch" forName="left_12_1" refType="h" fact="0.36"/>
        <dgm:constr type="b" for="ch" forName="left_12_1" refType="h" fact="0.715"/>
        <dgm:constr type="ctrX" for="ch" forName="left_12_1" refType="w" fact="0.255"/>
        <dgm:constr type="w" for="ch" forName="right_22_1" refType="w" fact="0.36"/>
        <dgm:constr type="h" for="ch" forName="right_22_1" refType="h" fact="0.32"/>
        <dgm:constr type="b" for="ch" forName="right_22_1" refType="h" fact="0.725"/>
        <dgm:constr type="ctrX" for="ch" forName="right_22_1" refType="w" fact="0.76"/>
        <dgm:constr type="w" for="ch" forName="right_22_2" refType="w" fact="0.36"/>
        <dgm:constr type="h" for="ch" forName="right_22_2" refType="h" fact="0.32"/>
        <dgm:constr type="b" for="ch" forName="right_22_2" refType="h" fact="0.39"/>
        <dgm:constr type="ctrX" for="ch" forName="right_22_2" refType="w" fact="0.76"/>
        <dgm:constr type="w" for="ch" forName="left_22_1" refType="w" fact="0.36"/>
        <dgm:constr type="h" for="ch" forName="left_22_1" refType="h" fact="0.32"/>
        <dgm:constr type="b" for="ch" forName="left_22_1" refType="h" fact="0.725"/>
        <dgm:constr type="ctrX" for="ch" forName="left_22_1" refType="w" fact="0.24"/>
        <dgm:constr type="w" for="ch" forName="left_22_2" refType="w" fact="0.36"/>
        <dgm:constr type="h" for="ch" forName="left_22_2" refType="h" fact="0.32"/>
        <dgm:constr type="b" for="ch" forName="left_22_2" refType="h" fact="0.39"/>
        <dgm:constr type="ctrX" for="ch" forName="left_22_2" refType="w" fact="0.24"/>
        <dgm:constr type="w" for="ch" forName="left_21_1" refType="w" fact="0.388"/>
        <dgm:constr type="h" for="ch" forName="left_21_1" refType="h" fact="0.36"/>
        <dgm:constr type="b" for="ch" forName="left_21_1" refType="h" fact="0.76"/>
        <dgm:constr type="ctrX" for="ch" forName="left_21_1" refType="w" fact="0.23"/>
        <dgm:constr type="w" for="ch" forName="left_21_2" refType="w" fact="0.388"/>
        <dgm:constr type="h" for="ch" forName="left_21_2" refType="h" fact="0.36"/>
        <dgm:constr type="b" for="ch" forName="left_21_2" refType="h" fact="0.42"/>
        <dgm:constr type="ctrX" for="ch" forName="left_21_2" refType="w" fact="0.21"/>
        <dgm:constr type="w" for="ch" forName="right_21_1" refType="w" fact="0.388"/>
        <dgm:constr type="h" for="ch" forName="right_21_1" refType="h" fact="0.36"/>
        <dgm:constr type="b" for="ch" forName="right_21_1" refType="h" fact="0.715"/>
        <dgm:constr type="ctrX" for="ch" forName="right_21_1" refType="w" fact="0.745"/>
        <dgm:constr type="w" for="ch" forName="right_03_1" refType="w" fact="0.37"/>
        <dgm:constr type="h" for="ch" forName="right_03_1" refType="h" fact="0.24"/>
        <dgm:constr type="b" for="ch" forName="right_03_1" refType="h" fact="0.76"/>
        <dgm:constr type="ctrX" for="ch" forName="right_03_1" refType="w" fact="0.77"/>
        <dgm:constr type="w" for="ch" forName="right_03_2" refType="w" fact="0.37"/>
        <dgm:constr type="h" for="ch" forName="right_03_2" refType="h" fact="0.24"/>
        <dgm:constr type="b" for="ch" forName="right_03_2" refType="h" fact="0.535"/>
        <dgm:constr type="ctrX" for="ch" forName="right_03_2" refType="w" fact="0.783"/>
        <dgm:constr type="w" for="ch" forName="right_03_3" refType="w" fact="0.37"/>
        <dgm:constr type="h" for="ch" forName="right_03_3" refType="h" fact="0.24"/>
        <dgm:constr type="b" for="ch" forName="right_03_3" refType="h" fact="0.315"/>
        <dgm:constr type="ctrX" for="ch" forName="right_03_3" refType="w" fact="0.796"/>
        <dgm:constr type="w" for="ch" forName="left_30_1" refType="w" fact="0.37"/>
        <dgm:constr type="h" for="ch" forName="left_30_1" refType="h" fact="0.24"/>
        <dgm:constr type="b" for="ch" forName="left_30_1" refType="h" fact="0.76"/>
        <dgm:constr type="ctrX" for="ch" forName="left_30_1" refType="w" fact="0.23"/>
        <dgm:constr type="w" for="ch" forName="left_30_2" refType="w" fact="0.37"/>
        <dgm:constr type="h" for="ch" forName="left_30_2" refType="h" fact="0.24"/>
        <dgm:constr type="b" for="ch" forName="left_30_2" refType="h" fact="0.535"/>
        <dgm:constr type="ctrX" for="ch" forName="left_30_2" refType="w" fact="0.217"/>
        <dgm:constr type="w" for="ch" forName="left_30_3" refType="w" fact="0.37"/>
        <dgm:constr type="h" for="ch" forName="left_30_3" refType="h" fact="0.24"/>
        <dgm:constr type="b" for="ch" forName="left_30_3" refType="h" fact="0.315"/>
        <dgm:constr type="ctrX" for="ch" forName="left_30_3" refType="w" fact="0.204"/>
        <dgm:constr type="w" for="ch" forName="right_13_1" refType="w" fact="0.37"/>
        <dgm:constr type="h" for="ch" forName="right_13_1" refType="h" fact="0.24"/>
        <dgm:constr type="b" for="ch" forName="right_13_1" refType="h" fact="0.76"/>
        <dgm:constr type="ctrX" for="ch" forName="right_13_1" refType="w" fact="0.77"/>
        <dgm:constr type="w" for="ch" forName="right_13_2" refType="w" fact="0.37"/>
        <dgm:constr type="h" for="ch" forName="right_13_2" refType="h" fact="0.24"/>
        <dgm:constr type="b" for="ch" forName="right_13_2" refType="h" fact="0.535"/>
        <dgm:constr type="ctrX" for="ch" forName="right_13_2" refType="w" fact="0.783"/>
        <dgm:constr type="w" for="ch" forName="right_13_3" refType="w" fact="0.37"/>
        <dgm:constr type="h" for="ch" forName="right_13_3" refType="h" fact="0.24"/>
        <dgm:constr type="b" for="ch" forName="right_13_3" refType="h" fact="0.315"/>
        <dgm:constr type="ctrX" for="ch" forName="right_13_3" refType="w" fact="0.796"/>
        <dgm:constr type="w" for="ch" forName="left_13_1" refType="w" fact="0.37"/>
        <dgm:constr type="h" for="ch" forName="left_13_1" refType="h" fact="0.24"/>
        <dgm:constr type="b" for="ch" forName="left_13_1" refType="h" fact="0.715"/>
        <dgm:constr type="ctrX" for="ch" forName="left_13_1" refType="w" fact="0.255"/>
        <dgm:constr type="w" for="ch" forName="left_31_1" refType="w" fact="0.37"/>
        <dgm:constr type="h" for="ch" forName="left_31_1" refType="h" fact="0.24"/>
        <dgm:constr type="b" for="ch" forName="left_31_1" refType="h" fact="0.76"/>
        <dgm:constr type="ctrX" for="ch" forName="left_31_1" refType="w" fact="0.23"/>
        <dgm:constr type="w" for="ch" forName="left_31_2" refType="w" fact="0.37"/>
        <dgm:constr type="h" for="ch" forName="left_31_2" refType="h" fact="0.24"/>
        <dgm:constr type="b" for="ch" forName="left_31_2" refType="h" fact="0.535"/>
        <dgm:constr type="ctrX" for="ch" forName="left_31_2" refType="w" fact="0.217"/>
        <dgm:constr type="w" for="ch" forName="left_31_3" refType="w" fact="0.37"/>
        <dgm:constr type="h" for="ch" forName="left_31_3" refType="h" fact="0.24"/>
        <dgm:constr type="b" for="ch" forName="left_31_3" refType="h" fact="0.315"/>
        <dgm:constr type="ctrX" for="ch" forName="left_31_3" refType="w" fact="0.204"/>
        <dgm:constr type="w" for="ch" forName="right_31_1" refType="w" fact="0.37"/>
        <dgm:constr type="h" for="ch" forName="right_31_1" refType="h" fact="0.24"/>
        <dgm:constr type="b" for="ch" forName="right_31_1" refType="h" fact="0.715"/>
        <dgm:constr type="ctrX" for="ch" forName="right_31_1" refType="w" fact="0.745"/>
        <dgm:constr type="w" for="ch" forName="right_23_1" refType="w" fact="0.37"/>
        <dgm:constr type="h" for="ch" forName="right_23_1" refType="h" fact="0.24"/>
        <dgm:constr type="b" for="ch" forName="right_23_1" refType="h" fact="0.76"/>
        <dgm:constr type="ctrX" for="ch" forName="right_23_1" refType="w" fact="0.77"/>
        <dgm:constr type="w" for="ch" forName="right_23_2" refType="w" fact="0.37"/>
        <dgm:constr type="h" for="ch" forName="right_23_2" refType="h" fact="0.24"/>
        <dgm:constr type="b" for="ch" forName="right_23_2" refType="h" fact="0.535"/>
        <dgm:constr type="ctrX" for="ch" forName="right_23_2" refType="w" fact="0.783"/>
        <dgm:constr type="w" for="ch" forName="right_23_3" refType="w" fact="0.37"/>
        <dgm:constr type="h" for="ch" forName="right_23_3" refType="h" fact="0.24"/>
        <dgm:constr type="b" for="ch" forName="right_23_3" refType="h" fact="0.315"/>
        <dgm:constr type="ctrX" for="ch" forName="right_23_3" refType="w" fact="0.796"/>
        <dgm:constr type="w" for="ch" forName="left_23_1" refType="w" fact="0.37"/>
        <dgm:constr type="h" for="ch" forName="left_23_1" refType="h" fact="0.24"/>
        <dgm:constr type="b" for="ch" forName="left_23_1" refType="h" fact="0.715"/>
        <dgm:constr type="ctrX" for="ch" forName="left_23_1" refType="w" fact="0.255"/>
        <dgm:constr type="w" for="ch" forName="left_23_2" refType="w" fact="0.37"/>
        <dgm:constr type="h" for="ch" forName="left_23_2" refType="h" fact="0.24"/>
        <dgm:constr type="b" for="ch" forName="left_23_2" refType="h" fact="0.49"/>
        <dgm:constr type="ctrX" for="ch" forName="left_23_2" refType="w" fact="0.268"/>
        <dgm:constr type="w" for="ch" forName="left_32_1" refType="w" fact="0.37"/>
        <dgm:constr type="h" for="ch" forName="left_32_1" refType="h" fact="0.24"/>
        <dgm:constr type="b" for="ch" forName="left_32_1" refType="h" fact="0.76"/>
        <dgm:constr type="ctrX" for="ch" forName="left_32_1" refType="w" fact="0.23"/>
        <dgm:constr type="w" for="ch" forName="left_32_2" refType="w" fact="0.37"/>
        <dgm:constr type="h" for="ch" forName="left_32_2" refType="h" fact="0.24"/>
        <dgm:constr type="b" for="ch" forName="left_32_2" refType="h" fact="0.535"/>
        <dgm:constr type="ctrX" for="ch" forName="left_32_2" refType="w" fact="0.217"/>
        <dgm:constr type="w" for="ch" forName="left_32_3" refType="w" fact="0.37"/>
        <dgm:constr type="h" for="ch" forName="left_32_3" refType="h" fact="0.24"/>
        <dgm:constr type="b" for="ch" forName="left_32_3" refType="h" fact="0.315"/>
        <dgm:constr type="ctrX" for="ch" forName="left_32_3" refType="w" fact="0.204"/>
        <dgm:constr type="w" for="ch" forName="right_32_1" refType="w" fact="0.37"/>
        <dgm:constr type="h" for="ch" forName="right_32_1" refType="h" fact="0.24"/>
        <dgm:constr type="b" for="ch" forName="right_32_1" refType="h" fact="0.715"/>
        <dgm:constr type="ctrX" for="ch" forName="right_32_1" refType="w" fact="0.745"/>
        <dgm:constr type="w" for="ch" forName="right_32_2" refType="w" fact="0.37"/>
        <dgm:constr type="h" for="ch" forName="right_32_2" refType="h" fact="0.24"/>
        <dgm:constr type="b" for="ch" forName="right_32_2" refType="h" fact="0.49"/>
        <dgm:constr type="ctrX" for="ch" forName="right_32_2" refType="w" fact="0.732"/>
        <dgm:constr type="w" for="ch" forName="right_33_1" refType="w" fact="0.36"/>
        <dgm:constr type="h" for="ch" forName="right_33_1" refType="h" fact="0.21"/>
        <dgm:constr type="b" for="ch" forName="right_33_1" refType="h" fact="0.725"/>
        <dgm:constr type="ctrX" for="ch" forName="right_33_1" refType="w" fact="0.76"/>
        <dgm:constr type="w" for="ch" forName="right_33_2" refType="w" fact="0.36"/>
        <dgm:constr type="h" for="ch" forName="right_33_2" refType="h" fact="0.21"/>
        <dgm:constr type="b" for="ch" forName="right_33_2" refType="h" fact="0.5"/>
        <dgm:constr type="ctrX" for="ch" forName="right_33_2" refType="w" fact="0.76"/>
        <dgm:constr type="w" for="ch" forName="right_33_3" refType="w" fact="0.36"/>
        <dgm:constr type="h" for="ch" forName="right_33_3" refType="h" fact="0.21"/>
        <dgm:constr type="b" for="ch" forName="right_33_3" refType="h" fact="0.275"/>
        <dgm:constr type="ctrX" for="ch" forName="right_33_3" refType="w" fact="0.76"/>
        <dgm:constr type="w" for="ch" forName="left_33_1" refType="w" fact="0.36"/>
        <dgm:constr type="h" for="ch" forName="left_33_1" refType="h" fact="0.21"/>
        <dgm:constr type="b" for="ch" forName="left_33_1" refType="h" fact="0.725"/>
        <dgm:constr type="ctrX" for="ch" forName="left_33_1" refType="w" fact="0.24"/>
        <dgm:constr type="w" for="ch" forName="left_33_2" refType="w" fact="0.36"/>
        <dgm:constr type="h" for="ch" forName="left_33_2" refType="h" fact="0.21"/>
        <dgm:constr type="b" for="ch" forName="left_33_2" refType="h" fact="0.5"/>
        <dgm:constr type="ctrX" for="ch" forName="left_33_2" refType="w" fact="0.24"/>
        <dgm:constr type="w" for="ch" forName="left_33_3" refType="w" fact="0.36"/>
        <dgm:constr type="h" for="ch" forName="left_33_3" refType="h" fact="0.21"/>
        <dgm:constr type="b" for="ch" forName="left_33_3" refType="h" fact="0.275"/>
        <dgm:constr type="ctrX" for="ch" forName="left_33_3" refType="w" fact="0.24"/>
        <dgm:constr type="w" for="ch" forName="right_04_1" refType="w" fact="0.365"/>
        <dgm:constr type="h" for="ch" forName="right_04_1" refType="h" fact="0.185"/>
        <dgm:constr type="b" for="ch" forName="right_04_1" refType="h" fact="0.76"/>
        <dgm:constr type="ctrX" for="ch" forName="right_04_1" refType="w" fact="0.77"/>
        <dgm:constr type="w" for="ch" forName="right_04_2" refType="w" fact="0.365"/>
        <dgm:constr type="h" for="ch" forName="right_04_2" refType="h" fact="0.185"/>
        <dgm:constr type="b" for="ch" forName="right_04_2" refType="h" fact="0.595"/>
        <dgm:constr type="ctrX" for="ch" forName="right_04_2" refType="w" fact="0.78"/>
        <dgm:constr type="w" for="ch" forName="right_04_3" refType="w" fact="0.365"/>
        <dgm:constr type="h" for="ch" forName="right_04_3" refType="h" fact="0.185"/>
        <dgm:constr type="b" for="ch" forName="right_04_3" refType="h" fact="0.43"/>
        <dgm:constr type="ctrX" for="ch" forName="right_04_3" refType="w" fact="0.79"/>
        <dgm:constr type="w" for="ch" forName="right_04_4" refType="w" fact="0.365"/>
        <dgm:constr type="h" for="ch" forName="right_04_4" refType="h" fact="0.185"/>
        <dgm:constr type="b" for="ch" forName="right_04_4" refType="h" fact="0.265"/>
        <dgm:constr type="ctrX" for="ch" forName="right_04_4" refType="w" fact="0.8"/>
        <dgm:constr type="w" for="ch" forName="left_40_1" refType="w" fact="0.365"/>
        <dgm:constr type="h" for="ch" forName="left_40_1" refType="h" fact="0.185"/>
        <dgm:constr type="b" for="ch" forName="left_40_1" refType="h" fact="0.76"/>
        <dgm:constr type="ctrX" for="ch" forName="left_40_1" refType="w" fact="0.23"/>
        <dgm:constr type="w" for="ch" forName="left_40_2" refType="w" fact="0.365"/>
        <dgm:constr type="h" for="ch" forName="left_40_2" refType="h" fact="0.185"/>
        <dgm:constr type="b" for="ch" forName="left_40_2" refType="h" fact="0.595"/>
        <dgm:constr type="ctrX" for="ch" forName="left_40_2" refType="w" fact="0.22"/>
        <dgm:constr type="w" for="ch" forName="left_40_3" refType="w" fact="0.365"/>
        <dgm:constr type="h" for="ch" forName="left_40_3" refType="h" fact="0.185"/>
        <dgm:constr type="b" for="ch" forName="left_40_3" refType="h" fact="0.43"/>
        <dgm:constr type="ctrX" for="ch" forName="left_40_3" refType="w" fact="0.21"/>
        <dgm:constr type="w" for="ch" forName="left_40_4" refType="w" fact="0.365"/>
        <dgm:constr type="h" for="ch" forName="left_40_4" refType="h" fact="0.185"/>
        <dgm:constr type="b" for="ch" forName="left_40_4" refType="h" fact="0.265"/>
        <dgm:constr type="ctrX" for="ch" forName="left_40_4" refType="w" fact="0.2"/>
        <dgm:constr type="w" for="ch" forName="right_14_1" refType="w" fact="0.365"/>
        <dgm:constr type="h" for="ch" forName="right_14_1" refType="h" fact="0.185"/>
        <dgm:constr type="b" for="ch" forName="right_14_1" refType="h" fact="0.76"/>
        <dgm:constr type="ctrX" for="ch" forName="right_14_1" refType="w" fact="0.77"/>
        <dgm:constr type="w" for="ch" forName="right_14_2" refType="w" fact="0.365"/>
        <dgm:constr type="h" for="ch" forName="right_14_2" refType="h" fact="0.185"/>
        <dgm:constr type="b" for="ch" forName="right_14_2" refType="h" fact="0.595"/>
        <dgm:constr type="ctrX" for="ch" forName="right_14_2" refType="w" fact="0.78"/>
        <dgm:constr type="w" for="ch" forName="right_14_3" refType="w" fact="0.365"/>
        <dgm:constr type="h" for="ch" forName="right_14_3" refType="h" fact="0.185"/>
        <dgm:constr type="b" for="ch" forName="right_14_3" refType="h" fact="0.43"/>
        <dgm:constr type="ctrX" for="ch" forName="right_14_3" refType="w" fact="0.79"/>
        <dgm:constr type="w" for="ch" forName="right_14_4" refType="w" fact="0.365"/>
        <dgm:constr type="h" for="ch" forName="right_14_4" refType="h" fact="0.185"/>
        <dgm:constr type="b" for="ch" forName="right_14_4" refType="h" fact="0.265"/>
        <dgm:constr type="ctrX" for="ch" forName="right_14_4" refType="w" fact="0.8"/>
        <dgm:constr type="w" for="ch" forName="left_14_1" refType="w" fact="0.365"/>
        <dgm:constr type="h" for="ch" forName="left_14_1" refType="h" fact="0.185"/>
        <dgm:constr type="b" for="ch" forName="left_14_1" refType="h" fact="0.715"/>
        <dgm:constr type="ctrX" for="ch" forName="left_14_1" refType="w" fact="0.25"/>
        <dgm:constr type="w" for="ch" forName="left_41_1" refType="w" fact="0.365"/>
        <dgm:constr type="h" for="ch" forName="left_41_1" refType="h" fact="0.185"/>
        <dgm:constr type="b" for="ch" forName="left_41_1" refType="h" fact="0.76"/>
        <dgm:constr type="ctrX" for="ch" forName="left_41_1" refType="w" fact="0.23"/>
        <dgm:constr type="w" for="ch" forName="left_41_2" refType="w" fact="0.365"/>
        <dgm:constr type="h" for="ch" forName="left_41_2" refType="h" fact="0.185"/>
        <dgm:constr type="b" for="ch" forName="left_41_2" refType="h" fact="0.595"/>
        <dgm:constr type="ctrX" for="ch" forName="left_41_2" refType="w" fact="0.22"/>
        <dgm:constr type="w" for="ch" forName="left_41_3" refType="w" fact="0.365"/>
        <dgm:constr type="h" for="ch" forName="left_41_3" refType="h" fact="0.185"/>
        <dgm:constr type="b" for="ch" forName="left_41_3" refType="h" fact="0.43"/>
        <dgm:constr type="ctrX" for="ch" forName="left_41_3" refType="w" fact="0.21"/>
        <dgm:constr type="w" for="ch" forName="left_41_4" refType="w" fact="0.365"/>
        <dgm:constr type="h" for="ch" forName="left_41_4" refType="h" fact="0.185"/>
        <dgm:constr type="b" for="ch" forName="left_41_4" refType="h" fact="0.265"/>
        <dgm:constr type="ctrX" for="ch" forName="left_41_4" refType="w" fact="0.2"/>
        <dgm:constr type="w" for="ch" forName="right_41_1" refType="w" fact="0.365"/>
        <dgm:constr type="h" for="ch" forName="right_41_1" refType="h" fact="0.185"/>
        <dgm:constr type="b" for="ch" forName="right_41_1" refType="h" fact="0.715"/>
        <dgm:constr type="ctrX" for="ch" forName="right_41_1" refType="w" fact="0.75"/>
        <dgm:constr type="w" for="ch" forName="right_24_1" refType="w" fact="0.365"/>
        <dgm:constr type="h" for="ch" forName="right_24_1" refType="h" fact="0.185"/>
        <dgm:constr type="b" for="ch" forName="right_24_1" refType="h" fact="0.76"/>
        <dgm:constr type="ctrX" for="ch" forName="right_24_1" refType="w" fact="0.77"/>
        <dgm:constr type="w" for="ch" forName="right_24_2" refType="w" fact="0.365"/>
        <dgm:constr type="h" for="ch" forName="right_24_2" refType="h" fact="0.185"/>
        <dgm:constr type="b" for="ch" forName="right_24_2" refType="h" fact="0.595"/>
        <dgm:constr type="ctrX" for="ch" forName="right_24_2" refType="w" fact="0.78"/>
        <dgm:constr type="w" for="ch" forName="right_24_3" refType="w" fact="0.365"/>
        <dgm:constr type="h" for="ch" forName="right_24_3" refType="h" fact="0.185"/>
        <dgm:constr type="b" for="ch" forName="right_24_3" refType="h" fact="0.43"/>
        <dgm:constr type="ctrX" for="ch" forName="right_24_3" refType="w" fact="0.79"/>
        <dgm:constr type="w" for="ch" forName="right_24_4" refType="w" fact="0.365"/>
        <dgm:constr type="h" for="ch" forName="right_24_4" refType="h" fact="0.185"/>
        <dgm:constr type="b" for="ch" forName="right_24_4" refType="h" fact="0.265"/>
        <dgm:constr type="ctrX" for="ch" forName="right_24_4" refType="w" fact="0.8"/>
        <dgm:constr type="w" for="ch" forName="left_24_1" refType="w" fact="0.365"/>
        <dgm:constr type="h" for="ch" forName="left_24_1" refType="h" fact="0.185"/>
        <dgm:constr type="b" for="ch" forName="left_24_1" refType="h" fact="0.715"/>
        <dgm:constr type="ctrX" for="ch" forName="left_24_1" refType="w" fact="0.25"/>
        <dgm:constr type="w" for="ch" forName="left_24_2" refType="w" fact="0.365"/>
        <dgm:constr type="h" for="ch" forName="left_24_2" refType="h" fact="0.185"/>
        <dgm:constr type="b" for="ch" forName="left_24_2" refType="h" fact="0.55"/>
        <dgm:constr type="ctrX" for="ch" forName="left_24_2" refType="w" fact="0.26"/>
        <dgm:constr type="w" for="ch" forName="left_42_1" refType="w" fact="0.365"/>
        <dgm:constr type="h" for="ch" forName="left_42_1" refType="h" fact="0.185"/>
        <dgm:constr type="b" for="ch" forName="left_42_1" refType="h" fact="0.76"/>
        <dgm:constr type="ctrX" for="ch" forName="left_42_1" refType="w" fact="0.23"/>
        <dgm:constr type="w" for="ch" forName="left_42_2" refType="w" fact="0.365"/>
        <dgm:constr type="h" for="ch" forName="left_42_2" refType="h" fact="0.185"/>
        <dgm:constr type="b" for="ch" forName="left_42_2" refType="h" fact="0.595"/>
        <dgm:constr type="ctrX" for="ch" forName="left_42_2" refType="w" fact="0.22"/>
        <dgm:constr type="w" for="ch" forName="left_42_3" refType="w" fact="0.365"/>
        <dgm:constr type="h" for="ch" forName="left_42_3" refType="h" fact="0.185"/>
        <dgm:constr type="b" for="ch" forName="left_42_3" refType="h" fact="0.43"/>
        <dgm:constr type="ctrX" for="ch" forName="left_42_3" refType="w" fact="0.21"/>
        <dgm:constr type="w" for="ch" forName="left_42_4" refType="w" fact="0.365"/>
        <dgm:constr type="h" for="ch" forName="left_42_4" refType="h" fact="0.185"/>
        <dgm:constr type="b" for="ch" forName="left_42_4" refType="h" fact="0.265"/>
        <dgm:constr type="ctrX" for="ch" forName="left_42_4" refType="w" fact="0.2"/>
        <dgm:constr type="w" for="ch" forName="right_42_1" refType="w" fact="0.365"/>
        <dgm:constr type="h" for="ch" forName="right_42_1" refType="h" fact="0.185"/>
        <dgm:constr type="b" for="ch" forName="right_42_1" refType="h" fact="0.715"/>
        <dgm:constr type="ctrX" for="ch" forName="right_42_1" refType="w" fact="0.75"/>
        <dgm:constr type="w" for="ch" forName="right_42_2" refType="w" fact="0.365"/>
        <dgm:constr type="h" for="ch" forName="right_42_2" refType="h" fact="0.185"/>
        <dgm:constr type="b" for="ch" forName="right_42_2" refType="h" fact="0.55"/>
        <dgm:constr type="ctrX" for="ch" forName="right_42_2" refType="w" fact="0.74"/>
        <dgm:constr type="w" for="ch" forName="right_34_1" refType="w" fact="0.365"/>
        <dgm:constr type="h" for="ch" forName="right_34_1" refType="h" fact="0.185"/>
        <dgm:constr type="b" for="ch" forName="right_34_1" refType="h" fact="0.76"/>
        <dgm:constr type="ctrX" for="ch" forName="right_34_1" refType="w" fact="0.77"/>
        <dgm:constr type="w" for="ch" forName="right_34_2" refType="w" fact="0.365"/>
        <dgm:constr type="h" for="ch" forName="right_34_2" refType="h" fact="0.185"/>
        <dgm:constr type="b" for="ch" forName="right_34_2" refType="h" fact="0.595"/>
        <dgm:constr type="ctrX" for="ch" forName="right_34_2" refType="w" fact="0.78"/>
        <dgm:constr type="w" for="ch" forName="right_34_3" refType="w" fact="0.365"/>
        <dgm:constr type="h" for="ch" forName="right_34_3" refType="h" fact="0.185"/>
        <dgm:constr type="b" for="ch" forName="right_34_3" refType="h" fact="0.43"/>
        <dgm:constr type="ctrX" for="ch" forName="right_34_3" refType="w" fact="0.79"/>
        <dgm:constr type="w" for="ch" forName="right_34_4" refType="w" fact="0.365"/>
        <dgm:constr type="h" for="ch" forName="right_34_4" refType="h" fact="0.185"/>
        <dgm:constr type="b" for="ch" forName="right_34_4" refType="h" fact="0.265"/>
        <dgm:constr type="ctrX" for="ch" forName="right_34_4" refType="w" fact="0.8"/>
        <dgm:constr type="w" for="ch" forName="left_34_1" refType="w" fact="0.365"/>
        <dgm:constr type="h" for="ch" forName="left_34_1" refType="h" fact="0.185"/>
        <dgm:constr type="b" for="ch" forName="left_34_1" refType="h" fact="0.715"/>
        <dgm:constr type="ctrX" for="ch" forName="left_34_1" refType="w" fact="0.25"/>
        <dgm:constr type="w" for="ch" forName="left_34_2" refType="w" fact="0.365"/>
        <dgm:constr type="h" for="ch" forName="left_34_2" refType="h" fact="0.185"/>
        <dgm:constr type="b" for="ch" forName="left_34_2" refType="h" fact="0.55"/>
        <dgm:constr type="ctrX" for="ch" forName="left_34_2" refType="w" fact="0.26"/>
        <dgm:constr type="w" for="ch" forName="left_34_3" refType="w" fact="0.365"/>
        <dgm:constr type="h" for="ch" forName="left_34_3" refType="h" fact="0.185"/>
        <dgm:constr type="b" for="ch" forName="left_34_3" refType="h" fact="0.385"/>
        <dgm:constr type="ctrX" for="ch" forName="left_34_3" refType="w" fact="0.27"/>
        <dgm:constr type="w" for="ch" forName="left_43_1" refType="w" fact="0.365"/>
        <dgm:constr type="h" for="ch" forName="left_43_1" refType="h" fact="0.185"/>
        <dgm:constr type="b" for="ch" forName="left_43_1" refType="h" fact="0.76"/>
        <dgm:constr type="ctrX" for="ch" forName="left_43_1" refType="w" fact="0.23"/>
        <dgm:constr type="w" for="ch" forName="left_43_2" refType="w" fact="0.365"/>
        <dgm:constr type="h" for="ch" forName="left_43_2" refType="h" fact="0.185"/>
        <dgm:constr type="b" for="ch" forName="left_43_2" refType="h" fact="0.595"/>
        <dgm:constr type="ctrX" for="ch" forName="left_43_2" refType="w" fact="0.22"/>
        <dgm:constr type="w" for="ch" forName="left_43_3" refType="w" fact="0.365"/>
        <dgm:constr type="h" for="ch" forName="left_43_3" refType="h" fact="0.185"/>
        <dgm:constr type="b" for="ch" forName="left_43_3" refType="h" fact="0.43"/>
        <dgm:constr type="ctrX" for="ch" forName="left_43_3" refType="w" fact="0.21"/>
        <dgm:constr type="w" for="ch" forName="left_43_4" refType="w" fact="0.365"/>
        <dgm:constr type="h" for="ch" forName="left_43_4" refType="h" fact="0.185"/>
        <dgm:constr type="b" for="ch" forName="left_43_4" refType="h" fact="0.265"/>
        <dgm:constr type="ctrX" for="ch" forName="left_43_4" refType="w" fact="0.2"/>
        <dgm:constr type="w" for="ch" forName="right_43_1" refType="w" fact="0.365"/>
        <dgm:constr type="h" for="ch" forName="right_43_1" refType="h" fact="0.185"/>
        <dgm:constr type="b" for="ch" forName="right_43_1" refType="h" fact="0.715"/>
        <dgm:constr type="ctrX" for="ch" forName="right_43_1" refType="w" fact="0.75"/>
        <dgm:constr type="w" for="ch" forName="right_43_2" refType="w" fact="0.365"/>
        <dgm:constr type="h" for="ch" forName="right_43_2" refType="h" fact="0.185"/>
        <dgm:constr type="b" for="ch" forName="right_43_2" refType="h" fact="0.55"/>
        <dgm:constr type="ctrX" for="ch" forName="right_43_2" refType="w" fact="0.74"/>
        <dgm:constr type="w" for="ch" forName="right_43_3" refType="w" fact="0.365"/>
        <dgm:constr type="h" for="ch" forName="right_43_3" refType="h" fact="0.185"/>
        <dgm:constr type="b" for="ch" forName="right_43_3" refType="h" fact="0.385"/>
        <dgm:constr type="ctrX" for="ch" forName="right_43_3" refType="w" fact="0.73"/>
        <dgm:constr type="w" for="ch" forName="right_44_1" refType="w" fact="0.36"/>
        <dgm:constr type="h" for="ch" forName="right_44_1" refType="h" fact="0.154"/>
        <dgm:constr type="b" for="ch" forName="right_44_1" refType="h" fact="0.725"/>
        <dgm:constr type="ctrX" for="ch" forName="right_44_1" refType="w" fact="0.76"/>
        <dgm:constr type="w" for="ch" forName="right_44_2" refType="w" fact="0.36"/>
        <dgm:constr type="h" for="ch" forName="right_44_2" refType="h" fact="0.154"/>
        <dgm:constr type="b" for="ch" forName="right_44_2" refType="h" fact="0.559"/>
        <dgm:constr type="ctrX" for="ch" forName="right_44_2" refType="w" fact="0.76"/>
        <dgm:constr type="w" for="ch" forName="right_44_3" refType="w" fact="0.36"/>
        <dgm:constr type="h" for="ch" forName="right_44_3" refType="h" fact="0.154"/>
        <dgm:constr type="b" for="ch" forName="right_44_3" refType="h" fact="0.393"/>
        <dgm:constr type="ctrX" for="ch" forName="right_44_3" refType="w" fact="0.76"/>
        <dgm:constr type="w" for="ch" forName="right_44_4" refType="w" fact="0.36"/>
        <dgm:constr type="h" for="ch" forName="right_44_4" refType="h" fact="0.154"/>
        <dgm:constr type="b" for="ch" forName="right_44_4" refType="h" fact="0.224"/>
        <dgm:constr type="ctrX" for="ch" forName="right_44_4" refType="w" fact="0.76"/>
        <dgm:constr type="w" for="ch" forName="left_44_1" refType="w" fact="0.36"/>
        <dgm:constr type="h" for="ch" forName="left_44_1" refType="h" fact="0.154"/>
        <dgm:constr type="b" for="ch" forName="left_44_1" refType="h" fact="0.725"/>
        <dgm:constr type="ctrX" for="ch" forName="left_44_1" refType="w" fact="0.24"/>
        <dgm:constr type="w" for="ch" forName="left_44_2" refType="w" fact="0.36"/>
        <dgm:constr type="h" for="ch" forName="left_44_2" refType="h" fact="0.154"/>
        <dgm:constr type="b" for="ch" forName="left_44_2" refType="h" fact="0.559"/>
        <dgm:constr type="ctrX" for="ch" forName="left_44_2" refType="w" fact="0.24"/>
        <dgm:constr type="w" for="ch" forName="left_44_3" refType="w" fact="0.36"/>
        <dgm:constr type="h" for="ch" forName="left_44_3" refType="h" fact="0.154"/>
        <dgm:constr type="b" for="ch" forName="left_44_3" refType="h" fact="0.393"/>
        <dgm:constr type="ctrX" for="ch" forName="left_44_3" refType="w" fact="0.24"/>
        <dgm:constr type="w" for="ch" forName="left_44_4" refType="w" fact="0.36"/>
        <dgm:constr type="h" for="ch" forName="left_44_4" refType="h" fact="0.154"/>
        <dgm:constr type="b" for="ch" forName="left_44_4" refType="h" fact="0.224"/>
        <dgm:constr type="ctrX" for="ch" forName="left_44_4" refType="w" fact="0.24"/>
      </dgm:constrLst>
      <dgm:ruleLst/>
      <dgm:layoutNode name="dummyMaxCanvas_ChildArea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fulcrum" styleLbl="alignAccFollowNode1">
        <dgm:alg type="sp"/>
        <dgm:shape xmlns:r="http://schemas.openxmlformats.org/officeDocument/2006/relationships" type="triangle" r:blip="">
          <dgm:adjLst/>
        </dgm:shape>
        <dgm:presOf/>
        <dgm:constrLst/>
        <dgm:ruleLst/>
      </dgm:layoutNode>
      <dgm:choose name="Name0">
        <dgm:if name="Name1" axis="ch ch" ptType="node node" st="1 1" cnt="1 0" func="cnt" op="equ" val="0">
          <dgm:choose name="Name2">
            <dgm:if name="Name3" axis="ch ch" ptType="node node" st="2 1" cnt="1 0" func="cnt" op="equ" val="0">
              <dgm:layoutNode name="balance_00" styleLbl="alignAccFollowNode1">
                <dgm:varLst>
                  <dgm:bulletEnabled val="1"/>
                </dgm:varLst>
                <dgm:alg type="sp"/>
                <dgm:shape xmlns:r="http://schemas.openxmlformats.org/officeDocument/2006/relationships" type="rect" r:blip="">
                  <dgm:adjLst/>
                </dgm:shape>
                <dgm:presOf/>
                <dgm:constrLst/>
                <dgm:ruleLst/>
              </dgm:layoutNode>
            </dgm:if>
            <dgm:else name="Name4">
              <dgm:choose name="Name5">
                <dgm:if name="Name6" axis="ch ch" ptType="node node" st="2 1" cnt="1 0" func="cnt" op="equ" val="1">
                  <dgm:layoutNode name="balance_01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4" type="rect" r:blip="">
                      <dgm:adjLst/>
                    </dgm:shape>
                    <dgm:presOf/>
                    <dgm:constrLst/>
                    <dgm:ruleLst/>
                  </dgm:layoutNode>
                  <dgm:layoutNode name="right_01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4" type="roundRect" r:blip="">
                      <dgm:adjLst/>
                    </dgm:shape>
                    <dgm:presOf axis="ch ch desOrSelf" ptType="node node node" st="2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7">
                  <dgm:choose name="Name8">
                    <dgm:if name="Name9" axis="ch ch" ptType="node node" st="2 1" cnt="1 0" func="cnt" op="equ" val="2">
                      <dgm:layoutNode name="balance_02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right_02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02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10">
                      <dgm:choose name="Name11">
                        <dgm:if name="Name12" axis="ch ch" ptType="node node" st="2 1" cnt="1 0" func="cnt" op="equ" val="3">
                          <dgm:layoutNode name="balance_03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03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13">
                          <dgm:choose name="Name14">
                            <dgm:if name="Name15" axis="ch ch" ptType="node node" st="2 1" cnt="1 0" func="cnt" op="gte" val="4">
                              <dgm:layoutNode name="balance_04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04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16"/>
                          </dgm:choose>
                        </dgm:else>
                      </dgm:choose>
                    </dgm:else>
                  </dgm:choose>
                </dgm:else>
              </dgm:choose>
            </dgm:else>
          </dgm:choose>
        </dgm:if>
        <dgm:else name="Name17">
          <dgm:choose name="Name18">
            <dgm:if name="Name19" axis="ch ch" ptType="node node" st="1 1" cnt="1 0" func="cnt" op="equ" val="1">
              <dgm:choose name="Name20">
                <dgm:if name="Name21" axis="ch ch" ptType="node node" st="2 1" cnt="1 0" func="cnt" op="equ" val="0">
                  <dgm:layoutNode name="balance_10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-4" type="rect" r:blip="">
                      <dgm:adjLst/>
                    </dgm:shape>
                    <dgm:presOf/>
                    <dgm:constrLst/>
                    <dgm:ruleLst/>
                  </dgm:layoutNode>
                  <dgm:layoutNode name="left_10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-4" type="roundRect" r:blip="">
                      <dgm:adjLst/>
                    </dgm:shape>
                    <dgm:presOf axis="ch ch desOrSelf" ptType="node node node" st="1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22">
                  <dgm:choose name="Name23">
                    <dgm:if name="Name24" axis="ch ch" ptType="node node" st="2 1" cnt="1 0" func="cnt" op="equ" val="1">
                      <dgm:layoutNode name="balance_11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25">
                      <dgm:choose name="Name26">
                        <dgm:if name="Name27" axis="ch ch" ptType="node node" st="2 1" cnt="1 0" func="cnt" op="equ" val="2">
                          <dgm:layoutNode name="balance_12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12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28">
                          <dgm:choose name="Name29">
                            <dgm:if name="Name30" axis="ch ch" ptType="node node" st="2 1" cnt="1 0" func="cnt" op="equ" val="3">
                              <dgm:layoutNode name="balance_13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31">
                              <dgm:choose name="Name32">
                                <dgm:if name="Name33" axis="ch ch" ptType="node node" st="2 1" cnt="1 0" func="cnt" op="gte" val="4">
                                  <dgm:layoutNode name="balance_14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34"/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else>
              </dgm:choose>
            </dgm:if>
            <dgm:else name="Name35">
              <dgm:choose name="Name36">
                <dgm:if name="Name37" axis="ch ch" ptType="node node" st="1 1" cnt="1 0" func="cnt" op="equ" val="2">
                  <dgm:choose name="Name38">
                    <dgm:if name="Name39" axis="ch ch" ptType="node node" st="2 1" cnt="1 0" func="cnt" op="equ" val="0">
                      <dgm:layoutNode name="balance_20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-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20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left_20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40">
                      <dgm:choose name="Name41">
                        <dgm:if name="Name42" axis="ch ch" ptType="node node" st="2 1" cnt="1 0" func="cnt" op="equ" val="1">
                          <dgm:layoutNode name="balance_21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21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43">
                          <dgm:choose name="Name44">
                            <dgm:if name="Name45" axis="ch ch" ptType="node node" st="2 1" cnt="1 0" func="cnt" op="equ" val="2">
                              <dgm:layoutNode name="balance_22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46">
                              <dgm:choose name="Name47">
                                <dgm:if name="Name48" axis="ch ch" ptType="node node" st="2 1" cnt="1 0" func="cnt" op="equ" val="3">
                                  <dgm:layoutNode name="balance_23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49">
                                  <dgm:choose name="Name50">
                                    <dgm:if name="Name51" axis="ch ch" ptType="node node" st="2 1" cnt="1 0" func="cnt" op="gte" val="4">
                                      <dgm:layoutNode name="balance_24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52"/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if>
                <dgm:else name="Name53">
                  <dgm:choose name="Name54">
                    <dgm:if name="Name55" axis="ch ch" ptType="node node" st="1 1" cnt="1 0" func="cnt" op="equ" val="3">
                      <dgm:choose name="Name56">
                        <dgm:if name="Name57" axis="ch ch" ptType="node node" st="2 1" cnt="1 0" func="cnt" op="equ" val="0">
                          <dgm:layoutNode name="balance_30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30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58">
                          <dgm:choose name="Name59">
                            <dgm:if name="Name60" axis="ch ch" ptType="node node" st="2 1" cnt="1 0" func="cnt" op="equ" val="1">
                              <dgm:layoutNode name="balance_31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61">
                              <dgm:choose name="Name62">
                                <dgm:if name="Name63" axis="ch ch" ptType="node node" st="2 1" cnt="1 0" func="cnt" op="equ" val="2">
                                  <dgm:layoutNode name="balance_32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64">
                                  <dgm:choose name="Name65">
                                    <dgm:if name="Name66" axis="ch ch" ptType="node node" st="2 1" cnt="1 0" func="cnt" op="equ" val="3">
                                      <dgm:layoutNode name="balance_33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67">
                                      <dgm:choose name="Name68">
                                        <dgm:if name="Name69" axis="ch ch" ptType="node node" st="2 1" cnt="1 0" func="cnt" op="gte" val="4">
                                          <dgm:layoutNode name="balance_34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righ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70"/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71">
                      <dgm:choose name="Name72">
                        <dgm:if name="Name73" axis="ch ch" ptType="node node" st="1 1" cnt="1 0" func="cnt" op="gte" val="4">
                          <dgm:choose name="Name74">
                            <dgm:if name="Name75" axis="ch ch" ptType="node node" st="2 1" cnt="1 0" func="cnt" op="equ" val="0">
                              <dgm:layoutNode name="balance_40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40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76">
                              <dgm:choose name="Name77">
                                <dgm:if name="Name78" axis="ch ch" ptType="node node" st="2 1" cnt="1 0" func="cnt" op="equ" val="1">
                                  <dgm:layoutNode name="balance_41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79">
                                  <dgm:choose name="Name80">
                                    <dgm:if name="Name81" axis="ch ch" ptType="node node" st="2 1" cnt="1 0" func="cnt" op="equ" val="2">
                                      <dgm:layoutNode name="balance_42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-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lef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82">
                                      <dgm:choose name="Name83">
                                        <dgm:if name="Name84" axis="ch ch" ptType="node node" st="2 1" cnt="1 0" func="cnt" op="equ" val="3">
                                          <dgm:layoutNode name="balance_43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-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lef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85">
                                          <dgm:choose name="Name86">
                                            <dgm:if name="Name87" axis="ch ch" ptType="node node" st="2 1" cnt="1 0" func="cnt" op="gte" val="4">
                                              <dgm:layoutNode name="balance_44" styleLbl="alignAccFollowNode1">
                                                <dgm:varLst>
                                                  <dgm:bulletEnabled val="1"/>
                                                </dgm:varLst>
                                                <dgm:alg type="sp"/>
                                                <dgm:shape xmlns:r="http://schemas.openxmlformats.org/officeDocument/2006/relationships" type="rect" r:blip="">
                                                  <dgm:adjLst/>
                                                </dgm:shape>
                                                <dgm:presOf/>
                                                <dgm:constrLst/>
                                                <dgm:ruleLst/>
                                              </dgm:layoutNode>
                                              <dgm:layoutNode name="righ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</dgm:if>
                                            <dgm:else name="Name88"/>
                                          </dgm:choose>
                                        </dgm:else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if>
                        <dgm:else name="Name89"/>
                      </dgm:choose>
                    </dgm:else>
                  </dgm:choose>
                </dgm:else>
              </dgm:choose>
            </dgm:else>
          </dgm:choose>
        </dgm:else>
      </dgm:choose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49C2C0-97DA-499D-9E25-C813C9F39A10}" type="datetimeFigureOut">
              <a:rPr lang="nb-NO" smtClean="0"/>
              <a:pPr/>
              <a:t>19/10/15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79B03F-A892-4A67-8671-FE6AA3A6F0A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622205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5677" y="4174208"/>
            <a:ext cx="6686649" cy="4707224"/>
          </a:xfrm>
        </p:spPr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nb-NO" sz="1600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79B03F-A892-4A67-8671-FE6AA3A6F0AE}" type="slidenum">
              <a:rPr lang="nb-NO" smtClean="0">
                <a:solidFill>
                  <a:prstClr val="black"/>
                </a:solidFill>
              </a:rPr>
              <a:pPr/>
              <a:t>2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18146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79B03F-A892-4A67-8671-FE6AA3A6F0AE}" type="slidenum">
              <a:rPr lang="nb-NO" smtClean="0">
                <a:solidFill>
                  <a:prstClr val="black"/>
                </a:solidFill>
              </a:rPr>
              <a:pPr/>
              <a:t>13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3875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294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0" indent="0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n-GB" baseline="0" dirty="0" smtClean="0"/>
          </a:p>
        </p:txBody>
      </p:sp>
      <p:sp>
        <p:nvSpPr>
          <p:cNvPr id="8294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6299F3B-3056-47E3-95E8-641FE46E3796}" type="slidenum">
              <a:rPr lang="nb-NO" smtClean="0">
                <a:solidFill>
                  <a:srgbClr val="000000"/>
                </a:solidFill>
              </a:rPr>
              <a:pPr/>
              <a:t>16</a:t>
            </a:fld>
            <a:endParaRPr lang="nb-NO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5042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79B03F-A892-4A67-8671-FE6AA3A6F0AE}" type="slidenum">
              <a:rPr lang="nb-NO" smtClean="0">
                <a:solidFill>
                  <a:prstClr val="black"/>
                </a:solidFill>
              </a:rPr>
              <a:pPr/>
              <a:t>25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71779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6.jpg"/><Relationship Id="rId3" Type="http://schemas.openxmlformats.org/officeDocument/2006/relationships/image" Target="../media/image1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jpeg"/><Relationship Id="rId3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8.jpg"/><Relationship Id="rId3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jpg"/><Relationship Id="rId3" Type="http://schemas.openxmlformats.org/officeDocument/2006/relationships/image" Target="../media/image1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0.jpeg"/><Relationship Id="rId3" Type="http://schemas.openxmlformats.org/officeDocument/2006/relationships/image" Target="../media/image1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2.jp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Relationship Id="rId3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,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55576" y="260920"/>
            <a:ext cx="7412824" cy="360000"/>
          </a:xfrm>
        </p:spPr>
        <p:txBody>
          <a:bodyPr>
            <a:normAutofit/>
          </a:bodyPr>
          <a:lstStyle>
            <a:lvl1pPr marL="0" indent="0">
              <a:buNone/>
              <a:defRPr sz="1900" baseline="0">
                <a:solidFill>
                  <a:srgbClr val="7E5FA8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en-US" noProof="0" dirty="0" smtClean="0"/>
              <a:t>Small title</a:t>
            </a:r>
            <a:endParaRPr lang="en-US" noProof="0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9186" y="6476400"/>
            <a:ext cx="2133600" cy="15937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rgbClr val="003F6B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387916" y="6238800"/>
            <a:ext cx="5623200" cy="16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3F7F"/>
                </a:solidFill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061630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9186" y="6476400"/>
            <a:ext cx="2133600" cy="15937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rgbClr val="003F6B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387916" y="6238800"/>
            <a:ext cx="5623200" cy="16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3F7F"/>
                </a:solidFill>
              </a:defRPr>
            </a:lvl1pPr>
          </a:lstStyle>
          <a:p>
            <a:r>
              <a:rPr lang="en-US" smtClean="0"/>
              <a:t>Welcome to EV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50774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9186" y="6476400"/>
            <a:ext cx="2133600" cy="15937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rgbClr val="003F6B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387916" y="6238800"/>
            <a:ext cx="5623200" cy="16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3F7F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55577" y="619200"/>
            <a:ext cx="7616899" cy="5472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nb-NO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55627" y="260920"/>
            <a:ext cx="7617971" cy="360000"/>
          </a:xfrm>
        </p:spPr>
        <p:txBody>
          <a:bodyPr>
            <a:normAutofit/>
          </a:bodyPr>
          <a:lstStyle>
            <a:lvl1pPr marL="0" indent="0">
              <a:buNone/>
              <a:defRPr sz="1900" baseline="0">
                <a:solidFill>
                  <a:srgbClr val="7E5FA8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en-US" noProof="0" dirty="0" smtClean="0"/>
              <a:t>Small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03371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graphics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7" hasCustomPrompt="1"/>
          </p:nvPr>
        </p:nvSpPr>
        <p:spPr>
          <a:xfrm>
            <a:off x="752400" y="1555200"/>
            <a:ext cx="2473200" cy="4352400"/>
          </a:xfrm>
        </p:spPr>
        <p:txBody>
          <a:bodyPr tIns="1260000"/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smtClean="0"/>
              <a:t>Insert content</a:t>
            </a:r>
            <a:endParaRPr lang="en-US" noProof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8" hasCustomPrompt="1"/>
          </p:nvPr>
        </p:nvSpPr>
        <p:spPr>
          <a:xfrm>
            <a:off x="3376800" y="1555200"/>
            <a:ext cx="2473200" cy="4352400"/>
          </a:xfrm>
        </p:spPr>
        <p:txBody>
          <a:bodyPr tIns="1260000"/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smtClean="0"/>
              <a:t>Insert content</a:t>
            </a:r>
            <a:endParaRPr lang="en-US" noProof="0"/>
          </a:p>
        </p:txBody>
      </p:sp>
      <p:sp>
        <p:nvSpPr>
          <p:cNvPr id="18" name="Content Placeholder 2"/>
          <p:cNvSpPr>
            <a:spLocks noGrp="1"/>
          </p:cNvSpPr>
          <p:nvPr>
            <p:ph sz="quarter" idx="19" hasCustomPrompt="1"/>
          </p:nvPr>
        </p:nvSpPr>
        <p:spPr>
          <a:xfrm>
            <a:off x="5983200" y="1555200"/>
            <a:ext cx="2473200" cy="4352400"/>
          </a:xfrm>
        </p:spPr>
        <p:txBody>
          <a:bodyPr tIns="1260000"/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smtClean="0"/>
              <a:t>Insert content</a:t>
            </a:r>
            <a:endParaRPr lang="en-US" noProof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9186" y="6476400"/>
            <a:ext cx="2133600" cy="15937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rgbClr val="003F6B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387916" y="6238800"/>
            <a:ext cx="5623200" cy="16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3F7F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755576" y="619200"/>
            <a:ext cx="7697862" cy="5472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nb-NO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55629" y="260920"/>
            <a:ext cx="7698945" cy="360000"/>
          </a:xfrm>
        </p:spPr>
        <p:txBody>
          <a:bodyPr>
            <a:normAutofit/>
          </a:bodyPr>
          <a:lstStyle>
            <a:lvl1pPr marL="0" indent="0">
              <a:buNone/>
              <a:defRPr sz="1900" baseline="0">
                <a:solidFill>
                  <a:srgbClr val="7E5FA8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en-US" noProof="0" dirty="0" smtClean="0"/>
              <a:t>Small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628203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only (XL)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" b="1">
                <a:solidFill>
                  <a:schemeClr val="bg1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9144000" cy="6858000"/>
          </a:xfrm>
        </p:spPr>
        <p:txBody>
          <a:bodyPr tIns="2700000"/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smtClean="0"/>
              <a:t>Insert content</a:t>
            </a:r>
            <a:endParaRPr lang="en-US" noProof="0"/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8082000" y="6231600"/>
            <a:ext cx="716400" cy="3708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781036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only (XL) Blu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" b="1">
                <a:solidFill>
                  <a:schemeClr val="bg1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9144000" cy="6858000"/>
          </a:xfrm>
        </p:spPr>
        <p:txBody>
          <a:bodyPr tIns="2700000"/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smtClean="0"/>
              <a:t>Insert content</a:t>
            </a:r>
            <a:endParaRPr lang="en-US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8082000" y="6231600"/>
            <a:ext cx="716400" cy="3708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88413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576" y="619200"/>
            <a:ext cx="4359348" cy="1143000"/>
          </a:xfrm>
        </p:spPr>
        <p:txBody>
          <a:bodyPr anchor="t"/>
          <a:lstStyle/>
          <a:p>
            <a:r>
              <a:rPr lang="en-US" dirty="0" smtClean="0"/>
              <a:t>Click to edit Master title style</a:t>
            </a:r>
            <a:endParaRPr lang="nb-NO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576" y="260921"/>
            <a:ext cx="4359348" cy="360000"/>
          </a:xfrm>
        </p:spPr>
        <p:txBody>
          <a:bodyPr>
            <a:normAutofit/>
          </a:bodyPr>
          <a:lstStyle>
            <a:lvl1pPr marL="0" indent="0">
              <a:buNone/>
              <a:defRPr sz="1900" baseline="0">
                <a:solidFill>
                  <a:srgbClr val="7E5FA8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en-US" noProof="0" dirty="0" smtClean="0"/>
              <a:t>Small title</a:t>
            </a:r>
            <a:endParaRPr lang="en-US" noProof="0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230800" y="104400"/>
            <a:ext cx="3535200" cy="5803200"/>
          </a:xfrm>
        </p:spPr>
        <p:txBody>
          <a:bodyPr tIns="2160000"/>
          <a:lstStyle>
            <a:lvl1pPr marL="0" indent="0" algn="ctr">
              <a:buNone/>
              <a:defRPr/>
            </a:lvl1pPr>
          </a:lstStyle>
          <a:p>
            <a:r>
              <a:rPr lang="en-US" noProof="0" dirty="0" smtClean="0"/>
              <a:t>Insert picture</a:t>
            </a:r>
            <a:endParaRPr lang="en-US" noProof="0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385200" y="2038457"/>
            <a:ext cx="2322000" cy="1882800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r>
              <a:rPr lang="en-US" noProof="0" dirty="0" smtClean="0"/>
              <a:t>Insert picture</a:t>
            </a:r>
            <a:endParaRPr lang="en-US" noProof="0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2800375" y="2038457"/>
            <a:ext cx="2322000" cy="1882800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r>
              <a:rPr lang="en-US" noProof="0" dirty="0" smtClean="0"/>
              <a:t>Insert picture</a:t>
            </a:r>
            <a:endParaRPr lang="en-US" noProof="0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385200" y="4025657"/>
            <a:ext cx="2322000" cy="1882800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r>
              <a:rPr lang="en-US" noProof="0" dirty="0" smtClean="0"/>
              <a:t>Insert picture</a:t>
            </a:r>
            <a:endParaRPr lang="en-US" noProof="0" dirty="0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2800375" y="4025657"/>
            <a:ext cx="2322000" cy="1882800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r>
              <a:rPr lang="en-US" noProof="0" dirty="0" smtClean="0"/>
              <a:t>Insert picture</a:t>
            </a:r>
            <a:endParaRPr lang="en-US" noProof="0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9186" y="6476400"/>
            <a:ext cx="2133600" cy="15937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rgbClr val="003F6B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387916" y="6238800"/>
            <a:ext cx="5623200" cy="16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3F7F"/>
                </a:solidFill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068177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9186" y="6476400"/>
            <a:ext cx="2133600" cy="15937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rgbClr val="003F6B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387916" y="6238800"/>
            <a:ext cx="5623200" cy="16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3F7F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55576" y="619200"/>
            <a:ext cx="7616899" cy="5472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nb-NO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55627" y="260920"/>
            <a:ext cx="7617971" cy="360000"/>
          </a:xfrm>
        </p:spPr>
        <p:txBody>
          <a:bodyPr>
            <a:normAutofit/>
          </a:bodyPr>
          <a:lstStyle>
            <a:lvl1pPr marL="0" indent="0">
              <a:buNone/>
              <a:defRPr sz="1900" baseline="0">
                <a:solidFill>
                  <a:srgbClr val="7E5FA8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en-US" noProof="0" dirty="0" smtClean="0"/>
              <a:t>Small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596448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9186" y="6476400"/>
            <a:ext cx="2133600" cy="15937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rgbClr val="003F6B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387916" y="6238800"/>
            <a:ext cx="5623200" cy="16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3F7F"/>
                </a:solidFill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6106622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98043"/>
            <a:ext cx="6915150" cy="3448050"/>
          </a:xfrm>
          <a:prstGeom prst="rect">
            <a:avLst/>
          </a:prstGeom>
        </p:spPr>
      </p:pic>
      <p:sp>
        <p:nvSpPr>
          <p:cNvPr id="9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5200" y="2022748"/>
            <a:ext cx="7585200" cy="2342356"/>
          </a:xfrm>
        </p:spPr>
        <p:txBody>
          <a:bodyPr anchor="t">
            <a:noAutofit/>
          </a:bodyPr>
          <a:lstStyle>
            <a:lvl1pPr>
              <a:defRPr sz="4500">
                <a:solidFill>
                  <a:srgbClr val="00B6DE"/>
                </a:solidFill>
                <a:latin typeface="Arial Narrow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b-NO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743230" y="1274400"/>
            <a:ext cx="7585200" cy="360040"/>
          </a:xfrm>
        </p:spPr>
        <p:txBody>
          <a:bodyPr>
            <a:noAutofit/>
          </a:bodyPr>
          <a:lstStyle>
            <a:lvl1pPr marL="0" indent="0" algn="l">
              <a:buNone/>
              <a:defRPr sz="1900" b="1">
                <a:solidFill>
                  <a:srgbClr val="0D4067"/>
                </a:solidFill>
                <a:latin typeface="Arial Narrow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nb-NO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745200" y="1663200"/>
            <a:ext cx="7585200" cy="0"/>
          </a:xfrm>
          <a:prstGeom prst="line">
            <a:avLst/>
          </a:prstGeom>
          <a:ln w="18000">
            <a:solidFill>
              <a:srgbClr val="0D40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 userDrawn="1"/>
        </p:nvSpPr>
        <p:spPr>
          <a:xfrm>
            <a:off x="0" y="6760369"/>
            <a:ext cx="9147600" cy="97631"/>
          </a:xfrm>
          <a:prstGeom prst="rect">
            <a:avLst/>
          </a:prstGeom>
          <a:gradFill flip="none" rotWithShape="1">
            <a:gsLst>
              <a:gs pos="0">
                <a:srgbClr val="00ADD3"/>
              </a:gs>
              <a:gs pos="50000">
                <a:srgbClr val="ACE0ED"/>
              </a:gs>
              <a:gs pos="100000">
                <a:srgbClr val="91C349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 err="1" smtClean="0">
              <a:solidFill>
                <a:schemeClr val="accent5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" b="1">
                <a:solidFill>
                  <a:schemeClr val="bg1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1991" y="6231600"/>
            <a:ext cx="715370" cy="37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20745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95550"/>
            <a:ext cx="9144000" cy="4362450"/>
          </a:xfrm>
          <a:prstGeom prst="rect">
            <a:avLst/>
          </a:prstGeom>
        </p:spPr>
      </p:pic>
      <p:sp>
        <p:nvSpPr>
          <p:cNvPr id="9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743230" y="1274400"/>
            <a:ext cx="7585200" cy="360040"/>
          </a:xfrm>
        </p:spPr>
        <p:txBody>
          <a:bodyPr>
            <a:noAutofit/>
          </a:bodyPr>
          <a:lstStyle>
            <a:lvl1pPr marL="0" indent="0" algn="l">
              <a:buNone/>
              <a:defRPr sz="1900" b="1">
                <a:solidFill>
                  <a:srgbClr val="0D4067"/>
                </a:solidFill>
                <a:latin typeface="Arial Narrow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nb-NO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745200" y="1663200"/>
            <a:ext cx="7585200" cy="0"/>
          </a:xfrm>
          <a:prstGeom prst="line">
            <a:avLst/>
          </a:prstGeom>
          <a:ln w="18000">
            <a:solidFill>
              <a:srgbClr val="0D40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745200" y="2022748"/>
            <a:ext cx="7585200" cy="2342356"/>
          </a:xfrm>
        </p:spPr>
        <p:txBody>
          <a:bodyPr anchor="t">
            <a:noAutofit/>
          </a:bodyPr>
          <a:lstStyle>
            <a:lvl1pPr>
              <a:defRPr sz="4500">
                <a:solidFill>
                  <a:srgbClr val="00B6DE"/>
                </a:solidFill>
                <a:latin typeface="Arial Narrow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b-NO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6760369"/>
            <a:ext cx="9147600" cy="97631"/>
          </a:xfrm>
          <a:prstGeom prst="rect">
            <a:avLst/>
          </a:prstGeom>
          <a:gradFill flip="none" rotWithShape="1">
            <a:gsLst>
              <a:gs pos="0">
                <a:srgbClr val="00ADD3"/>
              </a:gs>
              <a:gs pos="50000">
                <a:srgbClr val="ACE0ED"/>
              </a:gs>
              <a:gs pos="100000">
                <a:srgbClr val="91C349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 err="1" smtClean="0">
              <a:solidFill>
                <a:schemeClr val="accent5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" b="1">
                <a:solidFill>
                  <a:schemeClr val="bg1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1991" y="6231600"/>
            <a:ext cx="715370" cy="37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5319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,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2400" y="1555200"/>
            <a:ext cx="3474000" cy="424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5" name="Content Placeholder 2"/>
          <p:cNvSpPr>
            <a:spLocks noGrp="1"/>
          </p:cNvSpPr>
          <p:nvPr>
            <p:ph idx="13"/>
          </p:nvPr>
        </p:nvSpPr>
        <p:spPr>
          <a:xfrm>
            <a:off x="4899676" y="1555200"/>
            <a:ext cx="3474000" cy="424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9186" y="6476400"/>
            <a:ext cx="2133600" cy="15937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rgbClr val="003F6B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387916" y="6238800"/>
            <a:ext cx="5623200" cy="16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3F7F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755576" y="619200"/>
            <a:ext cx="7616899" cy="547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55627" y="260920"/>
            <a:ext cx="7617971" cy="360000"/>
          </a:xfrm>
        </p:spPr>
        <p:txBody>
          <a:bodyPr>
            <a:normAutofit/>
          </a:bodyPr>
          <a:lstStyle>
            <a:lvl1pPr marL="0" indent="0">
              <a:buNone/>
              <a:defRPr sz="1900" baseline="0">
                <a:solidFill>
                  <a:srgbClr val="7E5FA8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en-US" noProof="0" dirty="0" smtClean="0"/>
              <a:t>Small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51743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2800"/>
            <a:ext cx="8334375" cy="3505200"/>
          </a:xfrm>
          <a:prstGeom prst="rect">
            <a:avLst/>
          </a:prstGeom>
        </p:spPr>
      </p:pic>
      <p:sp>
        <p:nvSpPr>
          <p:cNvPr id="9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743230" y="1274400"/>
            <a:ext cx="7585200" cy="360040"/>
          </a:xfrm>
        </p:spPr>
        <p:txBody>
          <a:bodyPr>
            <a:noAutofit/>
          </a:bodyPr>
          <a:lstStyle>
            <a:lvl1pPr marL="0" indent="0" algn="l">
              <a:buNone/>
              <a:defRPr sz="1900" b="1">
                <a:solidFill>
                  <a:srgbClr val="0D4067"/>
                </a:solidFill>
                <a:latin typeface="Arial Narrow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nb-NO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745200" y="1663200"/>
            <a:ext cx="7585200" cy="0"/>
          </a:xfrm>
          <a:prstGeom prst="line">
            <a:avLst/>
          </a:prstGeom>
          <a:ln w="18000">
            <a:solidFill>
              <a:srgbClr val="0D40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745200" y="2022748"/>
            <a:ext cx="7585200" cy="2342356"/>
          </a:xfrm>
        </p:spPr>
        <p:txBody>
          <a:bodyPr anchor="t">
            <a:noAutofit/>
          </a:bodyPr>
          <a:lstStyle>
            <a:lvl1pPr>
              <a:defRPr sz="4500">
                <a:solidFill>
                  <a:srgbClr val="00B6DE"/>
                </a:solidFill>
                <a:latin typeface="Arial Narrow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b-NO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6760369"/>
            <a:ext cx="9147600" cy="97631"/>
          </a:xfrm>
          <a:prstGeom prst="rect">
            <a:avLst/>
          </a:prstGeom>
          <a:gradFill flip="none" rotWithShape="1">
            <a:gsLst>
              <a:gs pos="0">
                <a:srgbClr val="00ADD3"/>
              </a:gs>
              <a:gs pos="50000">
                <a:srgbClr val="ACE0ED"/>
              </a:gs>
              <a:gs pos="100000">
                <a:srgbClr val="91C349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 err="1" smtClean="0">
              <a:solidFill>
                <a:schemeClr val="accent5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" b="1">
                <a:solidFill>
                  <a:schemeClr val="bg1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1991" y="6231600"/>
            <a:ext cx="715370" cy="37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0297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71850"/>
            <a:ext cx="6600825" cy="3486150"/>
          </a:xfrm>
          <a:prstGeom prst="rect">
            <a:avLst/>
          </a:prstGeom>
        </p:spPr>
      </p:pic>
      <p:sp>
        <p:nvSpPr>
          <p:cNvPr id="9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743230" y="1274400"/>
            <a:ext cx="7585200" cy="360040"/>
          </a:xfrm>
        </p:spPr>
        <p:txBody>
          <a:bodyPr>
            <a:noAutofit/>
          </a:bodyPr>
          <a:lstStyle>
            <a:lvl1pPr marL="0" indent="0" algn="l">
              <a:buNone/>
              <a:defRPr sz="1900" b="1">
                <a:solidFill>
                  <a:srgbClr val="0D4067"/>
                </a:solidFill>
                <a:latin typeface="Arial Narrow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nb-NO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745200" y="1663200"/>
            <a:ext cx="7585200" cy="0"/>
          </a:xfrm>
          <a:prstGeom prst="line">
            <a:avLst/>
          </a:prstGeom>
          <a:ln w="18000">
            <a:solidFill>
              <a:srgbClr val="0D40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745200" y="2022748"/>
            <a:ext cx="7585200" cy="2342356"/>
          </a:xfrm>
        </p:spPr>
        <p:txBody>
          <a:bodyPr anchor="t">
            <a:noAutofit/>
          </a:bodyPr>
          <a:lstStyle>
            <a:lvl1pPr>
              <a:defRPr sz="4500">
                <a:solidFill>
                  <a:srgbClr val="00B6DE"/>
                </a:solidFill>
                <a:latin typeface="Arial Narrow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b-NO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6760369"/>
            <a:ext cx="9147600" cy="97631"/>
          </a:xfrm>
          <a:prstGeom prst="rect">
            <a:avLst/>
          </a:prstGeom>
          <a:gradFill flip="none" rotWithShape="1">
            <a:gsLst>
              <a:gs pos="0">
                <a:srgbClr val="00ADD3"/>
              </a:gs>
              <a:gs pos="50000">
                <a:srgbClr val="ACE0ED"/>
              </a:gs>
              <a:gs pos="100000">
                <a:srgbClr val="91C349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 err="1" smtClean="0">
              <a:solidFill>
                <a:schemeClr val="accent5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" b="1">
                <a:solidFill>
                  <a:schemeClr val="bg1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1991" y="6231600"/>
            <a:ext cx="715370" cy="37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2190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ing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96000" y="259200"/>
            <a:ext cx="8395200" cy="5220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nb-NO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9186" y="6476400"/>
            <a:ext cx="2133600" cy="15937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rgbClr val="003F6B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387916" y="6238800"/>
            <a:ext cx="5623200" cy="16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3F7F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96000" y="1195200"/>
            <a:ext cx="8395200" cy="4467600"/>
          </a:xfrm>
        </p:spPr>
        <p:txBody>
          <a:bodyPr/>
          <a:lstStyle>
            <a:lvl1pPr marL="180975" indent="-180975">
              <a:spcBef>
                <a:spcPts val="600"/>
              </a:spcBef>
              <a:defRPr sz="1400"/>
            </a:lvl1pPr>
            <a:lvl2pPr marL="360000">
              <a:defRPr sz="1200"/>
            </a:lvl2pPr>
            <a:lvl3pPr marL="542925" indent="-180975">
              <a:defRPr sz="1200"/>
            </a:lvl3pPr>
            <a:lvl4pPr marL="714375" indent="-171450">
              <a:defRPr sz="1200"/>
            </a:lvl4pPr>
            <a:lvl5pPr marL="895350" indent="-180975"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2433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ing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96000" y="259200"/>
            <a:ext cx="8395200" cy="5220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nb-NO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9186" y="6476400"/>
            <a:ext cx="2133600" cy="15937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rgbClr val="003F6B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387916" y="6238800"/>
            <a:ext cx="5623200" cy="16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3F7F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96000" y="1195200"/>
            <a:ext cx="4158000" cy="4467600"/>
          </a:xfrm>
        </p:spPr>
        <p:txBody>
          <a:bodyPr/>
          <a:lstStyle>
            <a:lvl1pPr marL="180975" indent="-180975">
              <a:spcBef>
                <a:spcPts val="600"/>
              </a:spcBef>
              <a:defRPr sz="1400"/>
            </a:lvl1pPr>
            <a:lvl2pPr marL="360000">
              <a:defRPr sz="1200"/>
            </a:lvl2pPr>
            <a:lvl3pPr marL="542925" indent="-180975">
              <a:defRPr sz="1200"/>
            </a:lvl3pPr>
            <a:lvl4pPr marL="714375" indent="-171450">
              <a:defRPr sz="1200"/>
            </a:lvl4pPr>
            <a:lvl5pPr marL="895350" indent="-180975"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634483" y="1193648"/>
            <a:ext cx="4158000" cy="4467600"/>
          </a:xfrm>
        </p:spPr>
        <p:txBody>
          <a:bodyPr/>
          <a:lstStyle>
            <a:lvl1pPr marL="180975" indent="-180975">
              <a:spcBef>
                <a:spcPts val="600"/>
              </a:spcBef>
              <a:defRPr sz="1400"/>
            </a:lvl1pPr>
            <a:lvl2pPr marL="360000">
              <a:defRPr sz="1200"/>
            </a:lvl2pPr>
            <a:lvl3pPr marL="542925" indent="-180975">
              <a:defRPr sz="1200"/>
            </a:lvl3pPr>
            <a:lvl4pPr marL="714375" indent="-171450">
              <a:defRPr sz="1200"/>
            </a:lvl4pPr>
            <a:lvl5pPr marL="895350" indent="-180975"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30612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ing +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96000" y="259200"/>
            <a:ext cx="8395200" cy="5220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nb-NO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9186" y="6476400"/>
            <a:ext cx="2133600" cy="15937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rgbClr val="003F6B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387916" y="6238800"/>
            <a:ext cx="5623200" cy="16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3F7F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96000" y="1195200"/>
            <a:ext cx="4158000" cy="4467600"/>
          </a:xfrm>
        </p:spPr>
        <p:txBody>
          <a:bodyPr/>
          <a:lstStyle>
            <a:lvl1pPr marL="180975" indent="-180975">
              <a:spcBef>
                <a:spcPts val="600"/>
              </a:spcBef>
              <a:defRPr sz="1400"/>
            </a:lvl1pPr>
            <a:lvl2pPr marL="360000">
              <a:defRPr sz="1200"/>
            </a:lvl2pPr>
            <a:lvl3pPr marL="542925" indent="-180975">
              <a:defRPr sz="1200"/>
            </a:lvl3pPr>
            <a:lvl4pPr marL="714375" indent="-171450">
              <a:defRPr sz="1200"/>
            </a:lvl4pPr>
            <a:lvl5pPr marL="895350" indent="-180975"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4633200" y="1195200"/>
            <a:ext cx="4158000" cy="4712400"/>
          </a:xfrm>
        </p:spPr>
        <p:txBody>
          <a:bodyPr tIns="1548000"/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dirty="0" smtClean="0"/>
              <a:t>Insert cont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67525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">
                <a:solidFill>
                  <a:srgbClr val="0D4067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45200" y="1962180"/>
            <a:ext cx="7585200" cy="1946647"/>
          </a:xfrm>
        </p:spPr>
        <p:txBody>
          <a:bodyPr anchor="t">
            <a:noAutofit/>
          </a:bodyPr>
          <a:lstStyle>
            <a:lvl1pPr>
              <a:defRPr sz="6000">
                <a:solidFill>
                  <a:srgbClr val="00AEDA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43230" y="958783"/>
            <a:ext cx="7585200" cy="360040"/>
          </a:xfrm>
        </p:spPr>
        <p:txBody>
          <a:bodyPr>
            <a:noAutofit/>
          </a:bodyPr>
          <a:lstStyle>
            <a:lvl1pPr marL="0" indent="0" algn="l">
              <a:buNone/>
              <a:defRPr sz="1900" b="1">
                <a:solidFill>
                  <a:srgbClr val="FFFFFF"/>
                </a:solidFill>
                <a:latin typeface="Arial Narrow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nb-NO" dirty="0"/>
          </a:p>
        </p:txBody>
      </p:sp>
      <p:cxnSp>
        <p:nvCxnSpPr>
          <p:cNvPr id="14" name="Straight Connector 13"/>
          <p:cNvCxnSpPr/>
          <p:nvPr userDrawn="1"/>
        </p:nvCxnSpPr>
        <p:spPr bwMode="white">
          <a:xfrm>
            <a:off x="745200" y="1663200"/>
            <a:ext cx="7585200" cy="0"/>
          </a:xfrm>
          <a:prstGeom prst="line">
            <a:avLst/>
          </a:prstGeom>
          <a:ln w="180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0" y="6760369"/>
            <a:ext cx="9147600" cy="97631"/>
          </a:xfrm>
          <a:prstGeom prst="rect">
            <a:avLst/>
          </a:prstGeom>
          <a:gradFill flip="none" rotWithShape="1">
            <a:gsLst>
              <a:gs pos="0">
                <a:srgbClr val="00ADD3"/>
              </a:gs>
              <a:gs pos="50000">
                <a:srgbClr val="ACE0ED"/>
              </a:gs>
              <a:gs pos="100000">
                <a:srgbClr val="91C349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 err="1" smtClean="0">
              <a:solidFill>
                <a:schemeClr val="accent5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" b="1">
                <a:solidFill>
                  <a:srgbClr val="0D4067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745200" y="1274400"/>
            <a:ext cx="3106800" cy="3204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en-US" dirty="0" smtClean="0"/>
              <a:t>Click to add dat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2948" y="5497200"/>
            <a:ext cx="1842838" cy="96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4078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6760369"/>
            <a:ext cx="9147600" cy="97631"/>
          </a:xfrm>
          <a:prstGeom prst="rect">
            <a:avLst/>
          </a:prstGeom>
          <a:gradFill flip="none" rotWithShape="1">
            <a:gsLst>
              <a:gs pos="0">
                <a:srgbClr val="00ADD3"/>
              </a:gs>
              <a:gs pos="50000">
                <a:srgbClr val="ACE0ED"/>
              </a:gs>
              <a:gs pos="100000">
                <a:srgbClr val="91C349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 err="1" smtClean="0">
              <a:solidFill>
                <a:schemeClr val="accent5"/>
              </a:solidFill>
            </a:endParaRPr>
          </a:p>
        </p:txBody>
      </p:sp>
      <p:sp>
        <p:nvSpPr>
          <p:cNvPr id="6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">
                <a:solidFill>
                  <a:srgbClr val="0D4067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" b="1">
                <a:solidFill>
                  <a:srgbClr val="0D4067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5590800"/>
            <a:ext cx="6323810" cy="49523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0079" y="1800000"/>
            <a:ext cx="5223841" cy="2724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7945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+ graphics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752400" y="1555200"/>
            <a:ext cx="3960000" cy="424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 hasCustomPrompt="1"/>
          </p:nvPr>
        </p:nvSpPr>
        <p:spPr>
          <a:xfrm>
            <a:off x="5230800" y="104400"/>
            <a:ext cx="3535200" cy="5801444"/>
          </a:xfrm>
        </p:spPr>
        <p:txBody>
          <a:bodyPr tIns="2160000"/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 smtClean="0"/>
              <a:t>Insert content</a:t>
            </a:r>
            <a:endParaRPr lang="en-US" noProof="0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9186" y="6476400"/>
            <a:ext cx="2133600" cy="15937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rgbClr val="003F6B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387916" y="6238800"/>
            <a:ext cx="5623200" cy="16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3F7F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755576" y="619200"/>
            <a:ext cx="3960440" cy="547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55500" y="260920"/>
            <a:ext cx="3959659" cy="360000"/>
          </a:xfrm>
        </p:spPr>
        <p:txBody>
          <a:bodyPr>
            <a:normAutofit/>
          </a:bodyPr>
          <a:lstStyle>
            <a:lvl1pPr marL="0" indent="0">
              <a:buNone/>
              <a:defRPr sz="1900" baseline="0">
                <a:solidFill>
                  <a:srgbClr val="7E5FA8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en-US" noProof="0" dirty="0" smtClean="0"/>
              <a:t>Small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891288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+ graphics 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752400" y="1555200"/>
            <a:ext cx="3960000" cy="424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5158800" y="1555200"/>
            <a:ext cx="3229624" cy="4352400"/>
          </a:xfrm>
        </p:spPr>
        <p:txBody>
          <a:bodyPr tIns="1080000"/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nb-NO" dirty="0" err="1" smtClean="0"/>
              <a:t>Insert</a:t>
            </a:r>
            <a:r>
              <a:rPr lang="nb-NO" dirty="0" smtClean="0"/>
              <a:t> </a:t>
            </a:r>
            <a:r>
              <a:rPr lang="nb-NO" dirty="0" err="1" smtClean="0"/>
              <a:t>content</a:t>
            </a:r>
            <a:endParaRPr lang="nb-NO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9186" y="6476400"/>
            <a:ext cx="2133600" cy="15937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rgbClr val="003F6B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387916" y="6238800"/>
            <a:ext cx="5623200" cy="16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3F7F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755576" y="692696"/>
            <a:ext cx="7633681" cy="473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55627" y="309272"/>
            <a:ext cx="7634755" cy="311647"/>
          </a:xfrm>
        </p:spPr>
        <p:txBody>
          <a:bodyPr>
            <a:normAutofit/>
          </a:bodyPr>
          <a:lstStyle>
            <a:lvl1pPr marL="0" indent="0">
              <a:buNone/>
              <a:defRPr sz="1900" baseline="0">
                <a:solidFill>
                  <a:srgbClr val="7E5FA8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en-US" noProof="0" dirty="0" smtClean="0"/>
              <a:t>Small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379701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+ 2 graphics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752400" y="1555200"/>
            <a:ext cx="3960000" cy="424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5158800" y="1555200"/>
            <a:ext cx="3290400" cy="1908000"/>
          </a:xfrm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 smtClean="0"/>
              <a:t>Insert content</a:t>
            </a:r>
            <a:endParaRPr lang="en-US" noProof="0" dirty="0"/>
          </a:p>
        </p:txBody>
      </p:sp>
      <p:sp>
        <p:nvSpPr>
          <p:cNvPr id="9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5158800" y="4141937"/>
            <a:ext cx="3290400" cy="1764000"/>
          </a:xfrm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 smtClean="0"/>
              <a:t>Insert content</a:t>
            </a:r>
            <a:endParaRPr lang="en-US" noProof="0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9186" y="6476400"/>
            <a:ext cx="2133600" cy="15937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rgbClr val="003F6B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387916" y="6238800"/>
            <a:ext cx="5623200" cy="16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3F7F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55576" y="619200"/>
            <a:ext cx="7704856" cy="547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55628" y="260920"/>
            <a:ext cx="7704804" cy="360000"/>
          </a:xfrm>
        </p:spPr>
        <p:txBody>
          <a:bodyPr>
            <a:normAutofit/>
          </a:bodyPr>
          <a:lstStyle>
            <a:lvl1pPr marL="0" indent="0">
              <a:buNone/>
              <a:defRPr sz="1900" baseline="0">
                <a:solidFill>
                  <a:srgbClr val="7E5FA8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en-US" noProof="0" dirty="0" smtClean="0"/>
              <a:t>Small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1239808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tem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0400" y="1484784"/>
            <a:ext cx="7585200" cy="554616"/>
          </a:xfrm>
        </p:spPr>
        <p:txBody>
          <a:bodyPr anchor="b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0400" y="2396849"/>
            <a:ext cx="7585200" cy="3096000"/>
          </a:xfrm>
        </p:spPr>
        <p:txBody>
          <a:bodyPr>
            <a:noAutofit/>
          </a:bodyPr>
          <a:lstStyle>
            <a:lvl1pPr marL="0" indent="0">
              <a:buNone/>
              <a:defRPr sz="38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9186" y="6476400"/>
            <a:ext cx="2133600" cy="15937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rgbClr val="003F6B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387916" y="6238800"/>
            <a:ext cx="5623200" cy="16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3F7F"/>
                </a:solidFill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135946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 bwMode="white">
          <a:xfrm>
            <a:off x="378000" y="5925600"/>
            <a:ext cx="8395200" cy="0"/>
          </a:xfrm>
          <a:prstGeom prst="line">
            <a:avLst/>
          </a:prstGeom>
          <a:ln w="180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idx="10"/>
          </p:nvPr>
        </p:nvSpPr>
        <p:spPr bwMode="white">
          <a:xfrm>
            <a:off x="860400" y="2397600"/>
            <a:ext cx="7585200" cy="3096000"/>
          </a:xfrm>
        </p:spPr>
        <p:txBody>
          <a:bodyPr>
            <a:noAutofit/>
          </a:bodyPr>
          <a:lstStyle>
            <a:lvl1pPr marL="0" indent="0">
              <a:buNone/>
              <a:defRPr sz="3800">
                <a:solidFill>
                  <a:srgbClr val="8DC63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 bwMode="white">
          <a:xfrm>
            <a:off x="860400" y="1484784"/>
            <a:ext cx="7585200" cy="554616"/>
          </a:xfrm>
        </p:spPr>
        <p:txBody>
          <a:bodyPr anchor="b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0" y="6760369"/>
            <a:ext cx="9147600" cy="97631"/>
          </a:xfrm>
          <a:prstGeom prst="rect">
            <a:avLst/>
          </a:prstGeom>
          <a:gradFill flip="none" rotWithShape="1">
            <a:gsLst>
              <a:gs pos="0">
                <a:srgbClr val="00ADD3"/>
              </a:gs>
              <a:gs pos="50000">
                <a:srgbClr val="ACE0ED"/>
              </a:gs>
              <a:gs pos="100000">
                <a:srgbClr val="91C349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 err="1" smtClean="0">
              <a:solidFill>
                <a:schemeClr val="accent5"/>
              </a:solidFill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 bwMode="white">
          <a:xfrm>
            <a:off x="389186" y="6476400"/>
            <a:ext cx="2133600" cy="15937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chemeClr val="bg1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Plassholder for bunntekst 7"/>
          <p:cNvSpPr>
            <a:spLocks noGrp="1"/>
          </p:cNvSpPr>
          <p:nvPr>
            <p:ph type="ftr" sz="quarter" idx="3"/>
          </p:nvPr>
        </p:nvSpPr>
        <p:spPr bwMode="white">
          <a:xfrm>
            <a:off x="387916" y="6238800"/>
            <a:ext cx="5623200" cy="16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2000" y="6231600"/>
            <a:ext cx="710908" cy="37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4531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Statements 3">
    <p:bg>
      <p:bgPr>
        <a:solidFill>
          <a:srgbClr val="0D406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0400" y="1484784"/>
            <a:ext cx="7585200" cy="554616"/>
          </a:xfrm>
        </p:spPr>
        <p:txBody>
          <a:bodyPr anchor="b"/>
          <a:lstStyle>
            <a:lvl1pPr>
              <a:defRPr b="1">
                <a:solidFill>
                  <a:srgbClr val="A9DEE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0400" y="2397600"/>
            <a:ext cx="7585200" cy="3096000"/>
          </a:xfrm>
        </p:spPr>
        <p:txBody>
          <a:bodyPr>
            <a:noAutofit/>
          </a:bodyPr>
          <a:lstStyle>
            <a:lvl1pPr marL="0" indent="0">
              <a:buNone/>
              <a:defRPr sz="3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78000" y="5925600"/>
            <a:ext cx="8395200" cy="0"/>
          </a:xfrm>
          <a:prstGeom prst="line">
            <a:avLst/>
          </a:prstGeom>
          <a:ln w="18000">
            <a:solidFill>
              <a:srgbClr val="A9DE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 userDrawn="1"/>
        </p:nvSpPr>
        <p:spPr>
          <a:xfrm>
            <a:off x="0" y="6760369"/>
            <a:ext cx="9147600" cy="97631"/>
          </a:xfrm>
          <a:prstGeom prst="rect">
            <a:avLst/>
          </a:prstGeom>
          <a:gradFill flip="none" rotWithShape="1">
            <a:gsLst>
              <a:gs pos="0">
                <a:srgbClr val="00ADD3"/>
              </a:gs>
              <a:gs pos="50000">
                <a:srgbClr val="ACE0ED"/>
              </a:gs>
              <a:gs pos="100000">
                <a:srgbClr val="91C349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 err="1" smtClean="0">
              <a:solidFill>
                <a:schemeClr val="accent5"/>
              </a:solidFill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9186" y="6476400"/>
            <a:ext cx="2133600" cy="15937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chemeClr val="bg1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387916" y="6238800"/>
            <a:ext cx="5623200" cy="16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2000" y="6231600"/>
            <a:ext cx="710908" cy="37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6736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icture only (XL) Blu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" b="1">
                <a:solidFill>
                  <a:schemeClr val="bg1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Photos from the image ban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9144000" cy="6858000"/>
          </a:xfrm>
        </p:spPr>
        <p:txBody>
          <a:bodyPr tIns="2700000"/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smtClean="0"/>
              <a:t>Insert content</a:t>
            </a:r>
            <a:endParaRPr lang="en-US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8082000" y="6231600"/>
            <a:ext cx="716400" cy="3708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831603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theme" Target="../theme/theme2.xml"/><Relationship Id="rId8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4" Type="http://schemas.openxmlformats.org/officeDocument/2006/relationships/slideLayout" Target="../slideLayouts/slideLayout21.xml"/><Relationship Id="rId5" Type="http://schemas.openxmlformats.org/officeDocument/2006/relationships/theme" Target="../theme/theme3.xml"/><Relationship Id="rId6" Type="http://schemas.openxmlformats.org/officeDocument/2006/relationships/image" Target="../media/image1.png"/><Relationship Id="rId1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9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4" Type="http://schemas.openxmlformats.org/officeDocument/2006/relationships/theme" Target="../theme/theme4.xml"/><Relationship Id="rId5" Type="http://schemas.openxmlformats.org/officeDocument/2006/relationships/image" Target="../media/image1.png"/><Relationship Id="rId1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3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4" Type="http://schemas.openxmlformats.org/officeDocument/2006/relationships/image" Target="../media/image1.png"/><Relationship Id="rId1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576" y="619200"/>
            <a:ext cx="7414362" cy="547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 noProof="0" smtClean="0"/>
              <a:t>Klikk for å redigere tittelstil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2400" y="1555200"/>
            <a:ext cx="7416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 noProof="0" smtClean="0"/>
              <a:t>Klikk for å redigere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9186" y="6476400"/>
            <a:ext cx="2133600" cy="15937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rgbClr val="003F6B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378000" y="6022800"/>
            <a:ext cx="8395200" cy="0"/>
          </a:xfrm>
          <a:prstGeom prst="line">
            <a:avLst/>
          </a:prstGeom>
          <a:ln w="18000">
            <a:solidFill>
              <a:srgbClr val="0091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387916" y="6238800"/>
            <a:ext cx="5623200" cy="16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3F7F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5" name="Rectangle 4"/>
          <p:cNvSpPr/>
          <p:nvPr/>
        </p:nvSpPr>
        <p:spPr>
          <a:xfrm>
            <a:off x="0" y="6760369"/>
            <a:ext cx="9147600" cy="97631"/>
          </a:xfrm>
          <a:prstGeom prst="rect">
            <a:avLst/>
          </a:prstGeom>
          <a:gradFill flip="none" rotWithShape="1">
            <a:gsLst>
              <a:gs pos="0">
                <a:srgbClr val="00ADD3"/>
              </a:gs>
              <a:gs pos="50000">
                <a:srgbClr val="ACE0ED"/>
              </a:gs>
              <a:gs pos="100000">
                <a:srgbClr val="91C349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 err="1" smtClean="0">
              <a:solidFill>
                <a:schemeClr val="accent5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1991" y="6231600"/>
            <a:ext cx="715370" cy="37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8769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71" r:id="rId2"/>
    <p:sldLayoutId id="2147483673" r:id="rId3"/>
    <p:sldLayoutId id="2147483661" r:id="rId4"/>
    <p:sldLayoutId id="2147483663" r:id="rId5"/>
    <p:sldLayoutId id="2147483660" r:id="rId6"/>
    <p:sldLayoutId id="2147483665" r:id="rId7"/>
    <p:sldLayoutId id="2147483777" r:id="rId8"/>
    <p:sldLayoutId id="2147483819" r:id="rId9"/>
    <p:sldLayoutId id="2147483821" r:id="rId10"/>
    <p:sldLayoutId id="2147483823" r:id="rId11"/>
  </p:sldLayoutIdLst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rgbClr val="867D78"/>
          </a:solidFill>
          <a:latin typeface="Arial Narrow" pitchFamily="34" charset="0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ts val="1300"/>
        </a:spcBef>
        <a:buClr>
          <a:srgbClr val="5E5D5C"/>
        </a:buClr>
        <a:buFont typeface="Arial" pitchFamily="34" charset="0"/>
        <a:buChar char="•"/>
        <a:defRPr sz="1800" kern="1200">
          <a:solidFill>
            <a:srgbClr val="5E5D5C"/>
          </a:solidFill>
          <a:latin typeface="Georgia" pitchFamily="18" charset="0"/>
          <a:ea typeface="+mn-ea"/>
          <a:cs typeface="+mn-cs"/>
        </a:defRPr>
      </a:lvl1pPr>
      <a:lvl2pPr marL="361950" indent="-180975" algn="l" defTabSz="919163" rtl="0" eaLnBrk="1" latinLnBrk="0" hangingPunct="1">
        <a:spcBef>
          <a:spcPts val="600"/>
        </a:spcBef>
        <a:buClr>
          <a:srgbClr val="5E5D5C"/>
        </a:buClr>
        <a:buSzPct val="80000"/>
        <a:buFont typeface="Courier New" pitchFamily="49" charset="0"/>
        <a:buChar char="o"/>
        <a:defRPr sz="1400" kern="1200">
          <a:solidFill>
            <a:srgbClr val="5E5D5C"/>
          </a:solidFill>
          <a:latin typeface="Georgia" pitchFamily="18" charset="0"/>
          <a:ea typeface="+mn-ea"/>
          <a:cs typeface="+mn-cs"/>
        </a:defRPr>
      </a:lvl2pPr>
      <a:lvl3pPr marL="542925" indent="-180975" algn="l" defTabSz="914400" rtl="0" eaLnBrk="1" latinLnBrk="0" hangingPunct="1">
        <a:spcBef>
          <a:spcPts val="600"/>
        </a:spcBef>
        <a:buClr>
          <a:srgbClr val="5E5D5C"/>
        </a:buClr>
        <a:buFont typeface="Georgia" pitchFamily="18" charset="0"/>
        <a:buChar char="-"/>
        <a:defRPr sz="1400" kern="1200">
          <a:solidFill>
            <a:srgbClr val="5E5D5C"/>
          </a:solidFill>
          <a:latin typeface="Georgia" pitchFamily="18" charset="0"/>
          <a:ea typeface="+mn-ea"/>
          <a:cs typeface="+mn-cs"/>
        </a:defRPr>
      </a:lvl3pPr>
      <a:lvl4pPr marL="714375" indent="-171450" algn="l" defTabSz="914400" rtl="0" eaLnBrk="1" latinLnBrk="0" hangingPunct="1">
        <a:spcBef>
          <a:spcPts val="600"/>
        </a:spcBef>
        <a:buClr>
          <a:srgbClr val="5E5D5C"/>
        </a:buClr>
        <a:buFont typeface="Georgia" pitchFamily="18" charset="0"/>
        <a:buChar char="-"/>
        <a:defRPr sz="1400" kern="1200">
          <a:solidFill>
            <a:srgbClr val="5E5D5C"/>
          </a:solidFill>
          <a:latin typeface="Georgia" pitchFamily="18" charset="0"/>
          <a:ea typeface="+mn-ea"/>
          <a:cs typeface="+mn-cs"/>
        </a:defRPr>
      </a:lvl4pPr>
      <a:lvl5pPr marL="895350" indent="-180975" algn="l" defTabSz="914400" rtl="0" eaLnBrk="1" latinLnBrk="0" hangingPunct="1">
        <a:spcBef>
          <a:spcPts val="600"/>
        </a:spcBef>
        <a:buClr>
          <a:srgbClr val="5E5D5C"/>
        </a:buClr>
        <a:buFont typeface="Georgia" pitchFamily="18" charset="0"/>
        <a:buChar char="-"/>
        <a:defRPr sz="1400" kern="1200">
          <a:solidFill>
            <a:srgbClr val="5E5D5C"/>
          </a:solidFill>
          <a:latin typeface="Georgia" pitchFamily="18" charset="0"/>
          <a:ea typeface="+mn-ea"/>
          <a:cs typeface="+mn-cs"/>
        </a:defRPr>
      </a:lvl5pPr>
      <a:lvl6pPr marL="2062163" indent="-182563" algn="l" defTabSz="914400" rtl="0" eaLnBrk="1" latinLnBrk="0" hangingPunct="1">
        <a:spcBef>
          <a:spcPts val="600"/>
        </a:spcBef>
        <a:buClr>
          <a:srgbClr val="5E5D5C"/>
        </a:buClr>
        <a:buFont typeface="Georgia" pitchFamily="18" charset="0"/>
        <a:buChar char="-"/>
        <a:defRPr sz="1400" kern="1200">
          <a:solidFill>
            <a:srgbClr val="5E5D5C"/>
          </a:solidFill>
          <a:latin typeface="Georgia" pitchFamily="18" charset="0"/>
          <a:ea typeface="+mn-ea"/>
          <a:cs typeface="+mn-cs"/>
        </a:defRPr>
      </a:lvl6pPr>
      <a:lvl7pPr marL="2252663" indent="-190500" algn="l" defTabSz="914400" rtl="0" eaLnBrk="1" latinLnBrk="0" hangingPunct="1">
        <a:spcBef>
          <a:spcPts val="600"/>
        </a:spcBef>
        <a:buClr>
          <a:srgbClr val="5E5D5C"/>
        </a:buClr>
        <a:buFont typeface="Georgia" pitchFamily="18" charset="0"/>
        <a:buChar char="-"/>
        <a:defRPr sz="1400" kern="1200">
          <a:solidFill>
            <a:srgbClr val="5E5D5C"/>
          </a:solidFill>
          <a:latin typeface="Georgia" pitchFamily="18" charset="0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576" y="619200"/>
            <a:ext cx="7414362" cy="547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2400" y="1555200"/>
            <a:ext cx="7416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/>
        </p:nvSpPr>
        <p:spPr>
          <a:xfrm>
            <a:off x="0" y="6760369"/>
            <a:ext cx="9147600" cy="97631"/>
          </a:xfrm>
          <a:prstGeom prst="rect">
            <a:avLst/>
          </a:prstGeom>
          <a:gradFill flip="none" rotWithShape="1">
            <a:gsLst>
              <a:gs pos="0">
                <a:srgbClr val="00ADD3"/>
              </a:gs>
              <a:gs pos="50000">
                <a:srgbClr val="ACE0ED"/>
              </a:gs>
              <a:gs pos="100000">
                <a:srgbClr val="91C349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 err="1" smtClean="0">
              <a:solidFill>
                <a:schemeClr val="accent5"/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9186" y="6476400"/>
            <a:ext cx="2133600" cy="15937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rgbClr val="003F6B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378000" y="6022800"/>
            <a:ext cx="8395200" cy="0"/>
          </a:xfrm>
          <a:prstGeom prst="line">
            <a:avLst/>
          </a:prstGeom>
          <a:ln w="18000">
            <a:solidFill>
              <a:srgbClr val="0091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387916" y="6238800"/>
            <a:ext cx="5623200" cy="16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3F7F"/>
                </a:solidFill>
              </a:defRPr>
            </a:lvl1pPr>
          </a:lstStyle>
          <a:p>
            <a:endParaRPr lang="en-US" noProof="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1991" y="6231600"/>
            <a:ext cx="715370" cy="37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473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809" r:id="rId4"/>
    <p:sldLayoutId id="2147483784" r:id="rId5"/>
    <p:sldLayoutId id="2147483785" r:id="rId6"/>
  </p:sldLayoutIdLst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rgbClr val="867D78"/>
          </a:solidFill>
          <a:latin typeface="Arial Narrow" pitchFamily="34" charset="0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ts val="1300"/>
        </a:spcBef>
        <a:buClr>
          <a:srgbClr val="5E5D5C"/>
        </a:buClr>
        <a:buFont typeface="Arial" pitchFamily="34" charset="0"/>
        <a:buChar char="•"/>
        <a:defRPr sz="1800" kern="1200">
          <a:solidFill>
            <a:srgbClr val="5E5D5C"/>
          </a:solidFill>
          <a:latin typeface="Georgia" pitchFamily="18" charset="0"/>
          <a:ea typeface="+mn-ea"/>
          <a:cs typeface="+mn-cs"/>
        </a:defRPr>
      </a:lvl1pPr>
      <a:lvl2pPr marL="361950" indent="-180975" algn="l" defTabSz="919163" rtl="0" eaLnBrk="1" latinLnBrk="0" hangingPunct="1">
        <a:spcBef>
          <a:spcPts val="600"/>
        </a:spcBef>
        <a:buClr>
          <a:srgbClr val="5E5D5C"/>
        </a:buClr>
        <a:buSzPct val="80000"/>
        <a:buFont typeface="Courier New" pitchFamily="49" charset="0"/>
        <a:buChar char="o"/>
        <a:defRPr sz="1400" kern="1200">
          <a:solidFill>
            <a:srgbClr val="5E5D5C"/>
          </a:solidFill>
          <a:latin typeface="Georgia" pitchFamily="18" charset="0"/>
          <a:ea typeface="+mn-ea"/>
          <a:cs typeface="+mn-cs"/>
        </a:defRPr>
      </a:lvl2pPr>
      <a:lvl3pPr marL="542925" indent="-180975" algn="l" defTabSz="914400" rtl="0" eaLnBrk="1" latinLnBrk="0" hangingPunct="1">
        <a:spcBef>
          <a:spcPts val="600"/>
        </a:spcBef>
        <a:buClr>
          <a:srgbClr val="5E5D5C"/>
        </a:buClr>
        <a:buFont typeface="Georgia" pitchFamily="18" charset="0"/>
        <a:buChar char="-"/>
        <a:defRPr sz="1400" kern="1200">
          <a:solidFill>
            <a:srgbClr val="5E5D5C"/>
          </a:solidFill>
          <a:latin typeface="Georgia" pitchFamily="18" charset="0"/>
          <a:ea typeface="+mn-ea"/>
          <a:cs typeface="+mn-cs"/>
        </a:defRPr>
      </a:lvl3pPr>
      <a:lvl4pPr marL="714375" indent="-171450" algn="l" defTabSz="914400" rtl="0" eaLnBrk="1" latinLnBrk="0" hangingPunct="1">
        <a:spcBef>
          <a:spcPts val="600"/>
        </a:spcBef>
        <a:buClr>
          <a:srgbClr val="5E5D5C"/>
        </a:buClr>
        <a:buFont typeface="Georgia" pitchFamily="18" charset="0"/>
        <a:buChar char="-"/>
        <a:defRPr sz="1400" kern="1200">
          <a:solidFill>
            <a:srgbClr val="5E5D5C"/>
          </a:solidFill>
          <a:latin typeface="Georgia" pitchFamily="18" charset="0"/>
          <a:ea typeface="+mn-ea"/>
          <a:cs typeface="+mn-cs"/>
        </a:defRPr>
      </a:lvl4pPr>
      <a:lvl5pPr marL="895350" indent="-180975" algn="l" defTabSz="914400" rtl="0" eaLnBrk="1" latinLnBrk="0" hangingPunct="1">
        <a:spcBef>
          <a:spcPts val="600"/>
        </a:spcBef>
        <a:buClr>
          <a:srgbClr val="5E5D5C"/>
        </a:buClr>
        <a:buFont typeface="Georgia" pitchFamily="18" charset="0"/>
        <a:buChar char="-"/>
        <a:defRPr sz="1400" kern="1200">
          <a:solidFill>
            <a:srgbClr val="5E5D5C"/>
          </a:solidFill>
          <a:latin typeface="Georgia" pitchFamily="18" charset="0"/>
          <a:ea typeface="+mn-ea"/>
          <a:cs typeface="+mn-cs"/>
        </a:defRPr>
      </a:lvl5pPr>
      <a:lvl6pPr marL="2062163" indent="-182563" algn="l" defTabSz="914400" rtl="0" eaLnBrk="1" latinLnBrk="0" hangingPunct="1">
        <a:spcBef>
          <a:spcPts val="600"/>
        </a:spcBef>
        <a:buClr>
          <a:srgbClr val="5E5D5C"/>
        </a:buClr>
        <a:buFont typeface="Georgia" pitchFamily="18" charset="0"/>
        <a:buChar char="-"/>
        <a:defRPr sz="1400" kern="1200">
          <a:solidFill>
            <a:srgbClr val="5E5D5C"/>
          </a:solidFill>
          <a:latin typeface="Georgia" pitchFamily="18" charset="0"/>
          <a:ea typeface="+mn-ea"/>
          <a:cs typeface="+mn-cs"/>
        </a:defRPr>
      </a:lvl6pPr>
      <a:lvl7pPr marL="2252663" indent="-190500" algn="l" defTabSz="914400" rtl="0" eaLnBrk="1" latinLnBrk="0" hangingPunct="1">
        <a:spcBef>
          <a:spcPts val="600"/>
        </a:spcBef>
        <a:buClr>
          <a:srgbClr val="5E5D5C"/>
        </a:buClr>
        <a:buFont typeface="Georgia" pitchFamily="18" charset="0"/>
        <a:buChar char="-"/>
        <a:defRPr sz="1400" kern="1200">
          <a:solidFill>
            <a:srgbClr val="5E5D5C"/>
          </a:solidFill>
          <a:latin typeface="Georgia" pitchFamily="18" charset="0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576" y="619200"/>
            <a:ext cx="7414362" cy="547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2400" y="1555200"/>
            <a:ext cx="7416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/>
        </p:nvSpPr>
        <p:spPr>
          <a:xfrm>
            <a:off x="0" y="6760369"/>
            <a:ext cx="9147600" cy="97631"/>
          </a:xfrm>
          <a:prstGeom prst="rect">
            <a:avLst/>
          </a:prstGeom>
          <a:gradFill flip="none" rotWithShape="1">
            <a:gsLst>
              <a:gs pos="0">
                <a:srgbClr val="00ADD3"/>
              </a:gs>
              <a:gs pos="50000">
                <a:srgbClr val="ACE0ED"/>
              </a:gs>
              <a:gs pos="100000">
                <a:srgbClr val="91C349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 err="1" smtClean="0">
              <a:solidFill>
                <a:schemeClr val="accent5"/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9186" y="6476400"/>
            <a:ext cx="2133600" cy="15937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rgbClr val="003F6B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378000" y="6022800"/>
            <a:ext cx="8395200" cy="0"/>
          </a:xfrm>
          <a:prstGeom prst="line">
            <a:avLst/>
          </a:prstGeom>
          <a:ln w="18000">
            <a:solidFill>
              <a:srgbClr val="0091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387916" y="6238800"/>
            <a:ext cx="5623200" cy="16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3F7F"/>
                </a:solidFill>
              </a:defRPr>
            </a:lvl1pPr>
          </a:lstStyle>
          <a:p>
            <a:endParaRPr lang="en-US" noProof="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1991" y="6231600"/>
            <a:ext cx="715370" cy="37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868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810" r:id="rId2"/>
    <p:sldLayoutId id="2147483811" r:id="rId3"/>
    <p:sldLayoutId id="2147483812" r:id="rId4"/>
  </p:sldLayoutIdLst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rgbClr val="867D78"/>
          </a:solidFill>
          <a:latin typeface="Arial Narrow" pitchFamily="34" charset="0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ts val="1300"/>
        </a:spcBef>
        <a:buClr>
          <a:srgbClr val="5E5D5C"/>
        </a:buClr>
        <a:buFont typeface="Arial" pitchFamily="34" charset="0"/>
        <a:buChar char="•"/>
        <a:defRPr sz="1800" kern="1200">
          <a:solidFill>
            <a:srgbClr val="5E5D5C"/>
          </a:solidFill>
          <a:latin typeface="Georgia" pitchFamily="18" charset="0"/>
          <a:ea typeface="+mn-ea"/>
          <a:cs typeface="+mn-cs"/>
        </a:defRPr>
      </a:lvl1pPr>
      <a:lvl2pPr marL="361950" indent="-180975" algn="l" defTabSz="919163" rtl="0" eaLnBrk="1" latinLnBrk="0" hangingPunct="1">
        <a:spcBef>
          <a:spcPts val="600"/>
        </a:spcBef>
        <a:buClr>
          <a:srgbClr val="5E5D5C"/>
        </a:buClr>
        <a:buSzPct val="80000"/>
        <a:buFont typeface="Courier New" pitchFamily="49" charset="0"/>
        <a:buChar char="o"/>
        <a:defRPr sz="1400" kern="1200">
          <a:solidFill>
            <a:srgbClr val="5E5D5C"/>
          </a:solidFill>
          <a:latin typeface="Georgia" pitchFamily="18" charset="0"/>
          <a:ea typeface="+mn-ea"/>
          <a:cs typeface="+mn-cs"/>
        </a:defRPr>
      </a:lvl2pPr>
      <a:lvl3pPr marL="542925" indent="-180975" algn="l" defTabSz="914400" rtl="0" eaLnBrk="1" latinLnBrk="0" hangingPunct="1">
        <a:spcBef>
          <a:spcPts val="600"/>
        </a:spcBef>
        <a:buClr>
          <a:srgbClr val="5E5D5C"/>
        </a:buClr>
        <a:buFont typeface="Georgia" pitchFamily="18" charset="0"/>
        <a:buChar char="-"/>
        <a:defRPr sz="1400" kern="1200">
          <a:solidFill>
            <a:srgbClr val="5E5D5C"/>
          </a:solidFill>
          <a:latin typeface="Georgia" pitchFamily="18" charset="0"/>
          <a:ea typeface="+mn-ea"/>
          <a:cs typeface="+mn-cs"/>
        </a:defRPr>
      </a:lvl3pPr>
      <a:lvl4pPr marL="714375" indent="-171450" algn="l" defTabSz="914400" rtl="0" eaLnBrk="1" latinLnBrk="0" hangingPunct="1">
        <a:spcBef>
          <a:spcPts val="600"/>
        </a:spcBef>
        <a:buClr>
          <a:srgbClr val="5E5D5C"/>
        </a:buClr>
        <a:buFont typeface="Georgia" pitchFamily="18" charset="0"/>
        <a:buChar char="-"/>
        <a:defRPr sz="1400" kern="1200">
          <a:solidFill>
            <a:srgbClr val="5E5D5C"/>
          </a:solidFill>
          <a:latin typeface="Georgia" pitchFamily="18" charset="0"/>
          <a:ea typeface="+mn-ea"/>
          <a:cs typeface="+mn-cs"/>
        </a:defRPr>
      </a:lvl4pPr>
      <a:lvl5pPr marL="895350" indent="-180975" algn="l" defTabSz="914400" rtl="0" eaLnBrk="1" latinLnBrk="0" hangingPunct="1">
        <a:spcBef>
          <a:spcPts val="600"/>
        </a:spcBef>
        <a:buClr>
          <a:srgbClr val="5E5D5C"/>
        </a:buClr>
        <a:buFont typeface="Georgia" pitchFamily="18" charset="0"/>
        <a:buChar char="-"/>
        <a:defRPr sz="1400" kern="1200">
          <a:solidFill>
            <a:srgbClr val="5E5D5C"/>
          </a:solidFill>
          <a:latin typeface="Georgia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576" y="619200"/>
            <a:ext cx="7414362" cy="547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2400" y="1555200"/>
            <a:ext cx="7416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9186" y="6476400"/>
            <a:ext cx="2133600" cy="15937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rgbClr val="003F6B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378000" y="6022800"/>
            <a:ext cx="8395200" cy="0"/>
          </a:xfrm>
          <a:prstGeom prst="line">
            <a:avLst/>
          </a:prstGeom>
          <a:ln w="18000">
            <a:solidFill>
              <a:srgbClr val="0091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387916" y="6238800"/>
            <a:ext cx="5623200" cy="16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3F7F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5" name="Rectangle 4"/>
          <p:cNvSpPr/>
          <p:nvPr/>
        </p:nvSpPr>
        <p:spPr>
          <a:xfrm>
            <a:off x="0" y="6760369"/>
            <a:ext cx="9147600" cy="97631"/>
          </a:xfrm>
          <a:prstGeom prst="rect">
            <a:avLst/>
          </a:prstGeom>
          <a:gradFill flip="none" rotWithShape="1">
            <a:gsLst>
              <a:gs pos="0">
                <a:srgbClr val="00ADD3"/>
              </a:gs>
              <a:gs pos="50000">
                <a:srgbClr val="ACE0ED"/>
              </a:gs>
              <a:gs pos="100000">
                <a:srgbClr val="91C349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 err="1" smtClean="0">
              <a:solidFill>
                <a:schemeClr val="accent5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1991" y="6231600"/>
            <a:ext cx="715370" cy="37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286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</p:sldLayoutIdLst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rgbClr val="867D78"/>
          </a:solidFill>
          <a:latin typeface="Arial Narrow" pitchFamily="34" charset="0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ts val="1300"/>
        </a:spcBef>
        <a:buClr>
          <a:srgbClr val="5E5D5C"/>
        </a:buClr>
        <a:buFont typeface="Arial" pitchFamily="34" charset="0"/>
        <a:buChar char="•"/>
        <a:defRPr sz="1800" kern="1200">
          <a:solidFill>
            <a:srgbClr val="5E5D5C"/>
          </a:solidFill>
          <a:latin typeface="Georgia" pitchFamily="18" charset="0"/>
          <a:ea typeface="+mn-ea"/>
          <a:cs typeface="+mn-cs"/>
        </a:defRPr>
      </a:lvl1pPr>
      <a:lvl2pPr marL="361950" indent="-180975" algn="l" defTabSz="919163" rtl="0" eaLnBrk="1" latinLnBrk="0" hangingPunct="1">
        <a:spcBef>
          <a:spcPts val="600"/>
        </a:spcBef>
        <a:buClr>
          <a:srgbClr val="5E5D5C"/>
        </a:buClr>
        <a:buSzPct val="80000"/>
        <a:buFont typeface="Courier New" pitchFamily="49" charset="0"/>
        <a:buChar char="o"/>
        <a:defRPr sz="1400" kern="1200">
          <a:solidFill>
            <a:srgbClr val="5E5D5C"/>
          </a:solidFill>
          <a:latin typeface="Georgia" pitchFamily="18" charset="0"/>
          <a:ea typeface="+mn-ea"/>
          <a:cs typeface="+mn-cs"/>
        </a:defRPr>
      </a:lvl2pPr>
      <a:lvl3pPr marL="542925" indent="-180975" algn="l" defTabSz="914400" rtl="0" eaLnBrk="1" latinLnBrk="0" hangingPunct="1">
        <a:spcBef>
          <a:spcPts val="600"/>
        </a:spcBef>
        <a:buClr>
          <a:srgbClr val="5E5D5C"/>
        </a:buClr>
        <a:buFont typeface="Georgia" pitchFamily="18" charset="0"/>
        <a:buChar char="-"/>
        <a:defRPr sz="1400" kern="1200">
          <a:solidFill>
            <a:srgbClr val="5E5D5C"/>
          </a:solidFill>
          <a:latin typeface="Georgia" pitchFamily="18" charset="0"/>
          <a:ea typeface="+mn-ea"/>
          <a:cs typeface="+mn-cs"/>
        </a:defRPr>
      </a:lvl3pPr>
      <a:lvl4pPr marL="714375" indent="-171450" algn="l" defTabSz="914400" rtl="0" eaLnBrk="1" latinLnBrk="0" hangingPunct="1">
        <a:spcBef>
          <a:spcPts val="600"/>
        </a:spcBef>
        <a:buClr>
          <a:srgbClr val="5E5D5C"/>
        </a:buClr>
        <a:buFont typeface="Georgia" pitchFamily="18" charset="0"/>
        <a:buChar char="-"/>
        <a:defRPr sz="1400" kern="1200">
          <a:solidFill>
            <a:srgbClr val="5E5D5C"/>
          </a:solidFill>
          <a:latin typeface="Georgia" pitchFamily="18" charset="0"/>
          <a:ea typeface="+mn-ea"/>
          <a:cs typeface="+mn-cs"/>
        </a:defRPr>
      </a:lvl4pPr>
      <a:lvl5pPr marL="895350" indent="-180975" algn="l" defTabSz="914400" rtl="0" eaLnBrk="1" latinLnBrk="0" hangingPunct="1">
        <a:spcBef>
          <a:spcPts val="600"/>
        </a:spcBef>
        <a:buClr>
          <a:srgbClr val="5E5D5C"/>
        </a:buClr>
        <a:buFont typeface="Georgia" pitchFamily="18" charset="0"/>
        <a:buChar char="-"/>
        <a:defRPr sz="1400" kern="1200">
          <a:solidFill>
            <a:srgbClr val="5E5D5C"/>
          </a:solidFill>
          <a:latin typeface="Georgia" pitchFamily="18" charset="0"/>
          <a:ea typeface="+mn-ea"/>
          <a:cs typeface="+mn-cs"/>
        </a:defRPr>
      </a:lvl5pPr>
      <a:lvl6pPr marL="2062163" indent="-182563" algn="l" defTabSz="914400" rtl="0" eaLnBrk="1" latinLnBrk="0" hangingPunct="1">
        <a:spcBef>
          <a:spcPts val="600"/>
        </a:spcBef>
        <a:buClr>
          <a:srgbClr val="5E5D5C"/>
        </a:buClr>
        <a:buFont typeface="Georgia" pitchFamily="18" charset="0"/>
        <a:buChar char="-"/>
        <a:defRPr sz="1400" kern="1200">
          <a:solidFill>
            <a:srgbClr val="5E5D5C"/>
          </a:solidFill>
          <a:latin typeface="Georgia" pitchFamily="18" charset="0"/>
          <a:ea typeface="+mn-ea"/>
          <a:cs typeface="+mn-cs"/>
        </a:defRPr>
      </a:lvl6pPr>
      <a:lvl7pPr marL="2252663" indent="-190500" algn="l" defTabSz="914400" rtl="0" eaLnBrk="1" latinLnBrk="0" hangingPunct="1">
        <a:spcBef>
          <a:spcPts val="600"/>
        </a:spcBef>
        <a:buClr>
          <a:srgbClr val="5E5D5C"/>
        </a:buClr>
        <a:buFont typeface="Georgia" pitchFamily="18" charset="0"/>
        <a:buChar char="-"/>
        <a:defRPr sz="1400" kern="1200">
          <a:solidFill>
            <a:srgbClr val="5E5D5C"/>
          </a:solidFill>
          <a:latin typeface="Georgia" pitchFamily="18" charset="0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576" y="619200"/>
            <a:ext cx="7414362" cy="547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2400" y="1555200"/>
            <a:ext cx="7416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/>
        </p:nvSpPr>
        <p:spPr>
          <a:xfrm>
            <a:off x="0" y="6760369"/>
            <a:ext cx="9147600" cy="97631"/>
          </a:xfrm>
          <a:prstGeom prst="rect">
            <a:avLst/>
          </a:prstGeom>
          <a:gradFill flip="none" rotWithShape="1">
            <a:gsLst>
              <a:gs pos="0">
                <a:srgbClr val="00ADD3"/>
              </a:gs>
              <a:gs pos="50000">
                <a:srgbClr val="ACE0ED"/>
              </a:gs>
              <a:gs pos="100000">
                <a:srgbClr val="91C349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 err="1" smtClean="0">
              <a:solidFill>
                <a:schemeClr val="accent5"/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9186" y="6476400"/>
            <a:ext cx="2133600" cy="15937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rgbClr val="003F6B"/>
                </a:solidFill>
                <a:latin typeface="+mj-lt"/>
              </a:defRPr>
            </a:lvl1pPr>
          </a:lstStyle>
          <a:p>
            <a:fld id="{37B42EF7-4E00-47E5-BD04-2784F5E2F889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378000" y="6022800"/>
            <a:ext cx="8395200" cy="0"/>
          </a:xfrm>
          <a:prstGeom prst="line">
            <a:avLst/>
          </a:prstGeom>
          <a:ln w="18000">
            <a:solidFill>
              <a:srgbClr val="0091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lassholder for bunntekst 7"/>
          <p:cNvSpPr>
            <a:spLocks noGrp="1"/>
          </p:cNvSpPr>
          <p:nvPr>
            <p:ph type="ftr" sz="quarter" idx="3"/>
          </p:nvPr>
        </p:nvSpPr>
        <p:spPr>
          <a:xfrm>
            <a:off x="387916" y="6238800"/>
            <a:ext cx="5623200" cy="16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3F7F"/>
                </a:solidFill>
              </a:defRPr>
            </a:lvl1pPr>
          </a:lstStyle>
          <a:p>
            <a:endParaRPr lang="en-US" noProof="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1991" y="6231600"/>
            <a:ext cx="715370" cy="37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805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</p:sldLayoutIdLst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rgbClr val="867D78"/>
          </a:solidFill>
          <a:latin typeface="Arial Narrow" pitchFamily="34" charset="0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ts val="1300"/>
        </a:spcBef>
        <a:buClr>
          <a:srgbClr val="5E5D5C"/>
        </a:buClr>
        <a:buFont typeface="Arial" pitchFamily="34" charset="0"/>
        <a:buChar char="•"/>
        <a:defRPr sz="1800" kern="1200">
          <a:solidFill>
            <a:srgbClr val="5E5D5C"/>
          </a:solidFill>
          <a:latin typeface="Georgia" pitchFamily="18" charset="0"/>
          <a:ea typeface="+mn-ea"/>
          <a:cs typeface="+mn-cs"/>
        </a:defRPr>
      </a:lvl1pPr>
      <a:lvl2pPr marL="361950" indent="-180975" algn="l" defTabSz="919163" rtl="0" eaLnBrk="1" latinLnBrk="0" hangingPunct="1">
        <a:spcBef>
          <a:spcPts val="600"/>
        </a:spcBef>
        <a:buClr>
          <a:srgbClr val="5E5D5C"/>
        </a:buClr>
        <a:buSzPct val="80000"/>
        <a:buFont typeface="Courier New" pitchFamily="49" charset="0"/>
        <a:buChar char="o"/>
        <a:defRPr sz="1400" kern="1200">
          <a:solidFill>
            <a:srgbClr val="5E5D5C"/>
          </a:solidFill>
          <a:latin typeface="Georgia" pitchFamily="18" charset="0"/>
          <a:ea typeface="+mn-ea"/>
          <a:cs typeface="+mn-cs"/>
        </a:defRPr>
      </a:lvl2pPr>
      <a:lvl3pPr marL="542925" indent="-180975" algn="l" defTabSz="914400" rtl="0" eaLnBrk="1" latinLnBrk="0" hangingPunct="1">
        <a:spcBef>
          <a:spcPts val="600"/>
        </a:spcBef>
        <a:buClr>
          <a:srgbClr val="5E5D5C"/>
        </a:buClr>
        <a:buFont typeface="Georgia" pitchFamily="18" charset="0"/>
        <a:buChar char="-"/>
        <a:defRPr sz="1400" kern="1200">
          <a:solidFill>
            <a:srgbClr val="5E5D5C"/>
          </a:solidFill>
          <a:latin typeface="Georgia" pitchFamily="18" charset="0"/>
          <a:ea typeface="+mn-ea"/>
          <a:cs typeface="+mn-cs"/>
        </a:defRPr>
      </a:lvl3pPr>
      <a:lvl4pPr marL="714375" indent="-171450" algn="l" defTabSz="914400" rtl="0" eaLnBrk="1" latinLnBrk="0" hangingPunct="1">
        <a:spcBef>
          <a:spcPts val="600"/>
        </a:spcBef>
        <a:buClr>
          <a:srgbClr val="5E5D5C"/>
        </a:buClr>
        <a:buFont typeface="Georgia" pitchFamily="18" charset="0"/>
        <a:buChar char="-"/>
        <a:defRPr sz="1400" kern="1200">
          <a:solidFill>
            <a:srgbClr val="5E5D5C"/>
          </a:solidFill>
          <a:latin typeface="Georgia" pitchFamily="18" charset="0"/>
          <a:ea typeface="+mn-ea"/>
          <a:cs typeface="+mn-cs"/>
        </a:defRPr>
      </a:lvl4pPr>
      <a:lvl5pPr marL="895350" indent="-180975" algn="l" defTabSz="914400" rtl="0" eaLnBrk="1" latinLnBrk="0" hangingPunct="1">
        <a:spcBef>
          <a:spcPts val="600"/>
        </a:spcBef>
        <a:buClr>
          <a:srgbClr val="5E5D5C"/>
        </a:buClr>
        <a:buFont typeface="Georgia" pitchFamily="18" charset="0"/>
        <a:buChar char="-"/>
        <a:defRPr sz="1400" kern="1200">
          <a:solidFill>
            <a:srgbClr val="5E5D5C"/>
          </a:solidFill>
          <a:latin typeface="Georgia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4" Type="http://schemas.openxmlformats.org/officeDocument/2006/relationships/image" Target="../media/image23.jpg"/><Relationship Id="rId5" Type="http://schemas.openxmlformats.org/officeDocument/2006/relationships/image" Target="../media/image24.jpg"/><Relationship Id="rId6" Type="http://schemas.openxmlformats.org/officeDocument/2006/relationships/image" Target="../media/image25.jpg"/><Relationship Id="rId7" Type="http://schemas.openxmlformats.org/officeDocument/2006/relationships/image" Target="../media/image26.jpg"/><Relationship Id="rId8" Type="http://schemas.openxmlformats.org/officeDocument/2006/relationships/image" Target="../media/image27.jp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1.jpg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diagramQuickStyle" Target="../diagrams/quickStyle7.xml"/><Relationship Id="rId20" Type="http://schemas.openxmlformats.org/officeDocument/2006/relationships/diagramColors" Target="../diagrams/colors9.xml"/><Relationship Id="rId21" Type="http://schemas.microsoft.com/office/2007/relationships/diagramDrawing" Target="../diagrams/drawing9.xml"/><Relationship Id="rId10" Type="http://schemas.openxmlformats.org/officeDocument/2006/relationships/diagramColors" Target="../diagrams/colors7.xml"/><Relationship Id="rId11" Type="http://schemas.microsoft.com/office/2007/relationships/diagramDrawing" Target="../diagrams/drawing7.xml"/><Relationship Id="rId12" Type="http://schemas.openxmlformats.org/officeDocument/2006/relationships/diagramData" Target="../diagrams/data8.xml"/><Relationship Id="rId13" Type="http://schemas.openxmlformats.org/officeDocument/2006/relationships/diagramLayout" Target="../diagrams/layout8.xml"/><Relationship Id="rId14" Type="http://schemas.openxmlformats.org/officeDocument/2006/relationships/diagramQuickStyle" Target="../diagrams/quickStyle8.xml"/><Relationship Id="rId15" Type="http://schemas.openxmlformats.org/officeDocument/2006/relationships/diagramColors" Target="../diagrams/colors8.xml"/><Relationship Id="rId16" Type="http://schemas.microsoft.com/office/2007/relationships/diagramDrawing" Target="../diagrams/drawing8.xml"/><Relationship Id="rId17" Type="http://schemas.openxmlformats.org/officeDocument/2006/relationships/diagramData" Target="../diagrams/data9.xml"/><Relationship Id="rId18" Type="http://schemas.openxmlformats.org/officeDocument/2006/relationships/diagramLayout" Target="../diagrams/layout9.xml"/><Relationship Id="rId19" Type="http://schemas.openxmlformats.org/officeDocument/2006/relationships/diagramQuickStyle" Target="../diagrams/quickStyle9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6.xml"/><Relationship Id="rId3" Type="http://schemas.openxmlformats.org/officeDocument/2006/relationships/diagramLayout" Target="../diagrams/layout6.xml"/><Relationship Id="rId4" Type="http://schemas.openxmlformats.org/officeDocument/2006/relationships/diagramQuickStyle" Target="../diagrams/quickStyle6.xml"/><Relationship Id="rId5" Type="http://schemas.openxmlformats.org/officeDocument/2006/relationships/diagramColors" Target="../diagrams/colors6.xml"/><Relationship Id="rId6" Type="http://schemas.microsoft.com/office/2007/relationships/diagramDrawing" Target="../diagrams/drawing6.xml"/><Relationship Id="rId7" Type="http://schemas.openxmlformats.org/officeDocument/2006/relationships/diagramData" Target="../diagrams/data7.xml"/><Relationship Id="rId8" Type="http://schemas.openxmlformats.org/officeDocument/2006/relationships/diagramLayout" Target="../diagrams/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4" Type="http://schemas.openxmlformats.org/officeDocument/2006/relationships/notesSlide" Target="../notesSlides/notesSlide2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28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4" Type="http://schemas.openxmlformats.org/officeDocument/2006/relationships/image" Target="../media/image31.jpg"/><Relationship Id="rId5" Type="http://schemas.openxmlformats.org/officeDocument/2006/relationships/image" Target="../media/image32.jpeg"/><Relationship Id="rId6" Type="http://schemas.openxmlformats.org/officeDocument/2006/relationships/image" Target="../media/image33.jpeg"/><Relationship Id="rId7" Type="http://schemas.openxmlformats.org/officeDocument/2006/relationships/image" Target="../media/image34.jpg"/><Relationship Id="rId8" Type="http://schemas.openxmlformats.org/officeDocument/2006/relationships/image" Target="../media/image35.jpg"/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diagramQuickStyle" Target="../diagrams/quickStyle11.xml"/><Relationship Id="rId20" Type="http://schemas.openxmlformats.org/officeDocument/2006/relationships/diagramColors" Target="../diagrams/colors13.xml"/><Relationship Id="rId21" Type="http://schemas.microsoft.com/office/2007/relationships/diagramDrawing" Target="../diagrams/drawing13.xml"/><Relationship Id="rId10" Type="http://schemas.openxmlformats.org/officeDocument/2006/relationships/diagramColors" Target="../diagrams/colors11.xml"/><Relationship Id="rId11" Type="http://schemas.microsoft.com/office/2007/relationships/diagramDrawing" Target="../diagrams/drawing11.xml"/><Relationship Id="rId12" Type="http://schemas.openxmlformats.org/officeDocument/2006/relationships/diagramData" Target="../diagrams/data12.xml"/><Relationship Id="rId13" Type="http://schemas.openxmlformats.org/officeDocument/2006/relationships/diagramLayout" Target="../diagrams/layout12.xml"/><Relationship Id="rId14" Type="http://schemas.openxmlformats.org/officeDocument/2006/relationships/diagramQuickStyle" Target="../diagrams/quickStyle12.xml"/><Relationship Id="rId15" Type="http://schemas.openxmlformats.org/officeDocument/2006/relationships/diagramColors" Target="../diagrams/colors12.xml"/><Relationship Id="rId16" Type="http://schemas.microsoft.com/office/2007/relationships/diagramDrawing" Target="../diagrams/drawing12.xml"/><Relationship Id="rId17" Type="http://schemas.openxmlformats.org/officeDocument/2006/relationships/diagramData" Target="../diagrams/data13.xml"/><Relationship Id="rId18" Type="http://schemas.openxmlformats.org/officeDocument/2006/relationships/diagramLayout" Target="../diagrams/layout13.xml"/><Relationship Id="rId19" Type="http://schemas.openxmlformats.org/officeDocument/2006/relationships/diagramQuickStyle" Target="../diagrams/quickStyle13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0.xml"/><Relationship Id="rId3" Type="http://schemas.openxmlformats.org/officeDocument/2006/relationships/diagramLayout" Target="../diagrams/layout10.xml"/><Relationship Id="rId4" Type="http://schemas.openxmlformats.org/officeDocument/2006/relationships/diagramQuickStyle" Target="../diagrams/quickStyle10.xml"/><Relationship Id="rId5" Type="http://schemas.openxmlformats.org/officeDocument/2006/relationships/diagramColors" Target="../diagrams/colors10.xml"/><Relationship Id="rId6" Type="http://schemas.microsoft.com/office/2007/relationships/diagramDrawing" Target="../diagrams/drawing10.xml"/><Relationship Id="rId7" Type="http://schemas.openxmlformats.org/officeDocument/2006/relationships/diagramData" Target="../diagrams/data11.xml"/><Relationship Id="rId8" Type="http://schemas.openxmlformats.org/officeDocument/2006/relationships/diagramLayout" Target="../diagrams/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4" Type="http://schemas.openxmlformats.org/officeDocument/2006/relationships/image" Target="../media/image39.emf"/><Relationship Id="rId5" Type="http://schemas.openxmlformats.org/officeDocument/2006/relationships/image" Target="../media/image40.jpeg"/><Relationship Id="rId6" Type="http://schemas.openxmlformats.org/officeDocument/2006/relationships/image" Target="../media/image41.png"/><Relationship Id="rId7" Type="http://schemas.openxmlformats.org/officeDocument/2006/relationships/image" Target="../media/image42.png"/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37.em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43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4" Type="http://schemas.openxmlformats.org/officeDocument/2006/relationships/diagramQuickStyle" Target="../diagrams/quickStyle14.xml"/><Relationship Id="rId5" Type="http://schemas.openxmlformats.org/officeDocument/2006/relationships/diagramColors" Target="../diagrams/colors14.xml"/><Relationship Id="rId6" Type="http://schemas.microsoft.com/office/2007/relationships/diagramDrawing" Target="../diagrams/drawing14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4" Type="http://schemas.openxmlformats.org/officeDocument/2006/relationships/image" Target="../media/image15.png"/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5.xml"/><Relationship Id="rId4" Type="http://schemas.openxmlformats.org/officeDocument/2006/relationships/diagramQuickStyle" Target="../diagrams/quickStyle15.xml"/><Relationship Id="rId5" Type="http://schemas.openxmlformats.org/officeDocument/2006/relationships/diagramColors" Target="../diagrams/colors15.xml"/><Relationship Id="rId6" Type="http://schemas.microsoft.com/office/2007/relationships/diagramDrawing" Target="../diagrams/drawing15.xml"/><Relationship Id="rId7" Type="http://schemas.openxmlformats.org/officeDocument/2006/relationships/diagramData" Target="../diagrams/data16.xml"/><Relationship Id="rId8" Type="http://schemas.openxmlformats.org/officeDocument/2006/relationships/diagramLayout" Target="../diagrams/layout16.xml"/><Relationship Id="rId9" Type="http://schemas.openxmlformats.org/officeDocument/2006/relationships/diagramQuickStyle" Target="../diagrams/quickStyle16.xml"/><Relationship Id="rId10" Type="http://schemas.openxmlformats.org/officeDocument/2006/relationships/diagramColors" Target="../diagrams/colors16.xml"/><Relationship Id="rId11" Type="http://schemas.microsoft.com/office/2007/relationships/diagramDrawing" Target="../diagrams/drawing16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7.xml"/><Relationship Id="rId4" Type="http://schemas.openxmlformats.org/officeDocument/2006/relationships/diagramQuickStyle" Target="../diagrams/quickStyle17.xml"/><Relationship Id="rId5" Type="http://schemas.openxmlformats.org/officeDocument/2006/relationships/diagramColors" Target="../diagrams/colors17.xml"/><Relationship Id="rId6" Type="http://schemas.microsoft.com/office/2007/relationships/diagramDrawing" Target="../diagrams/drawing17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4" Type="http://schemas.openxmlformats.org/officeDocument/2006/relationships/image" Target="../media/image47.jpg"/><Relationship Id="rId5" Type="http://schemas.openxmlformats.org/officeDocument/2006/relationships/image" Target="../media/image48.jpe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5.jp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4" Type="http://schemas.openxmlformats.org/officeDocument/2006/relationships/image" Target="../media/image50.jpeg"/><Relationship Id="rId5" Type="http://schemas.openxmlformats.org/officeDocument/2006/relationships/image" Target="../media/image51.png"/><Relationship Id="rId6" Type="http://schemas.openxmlformats.org/officeDocument/2006/relationships/image" Target="../media/image52.jpeg"/><Relationship Id="rId7" Type="http://schemas.openxmlformats.org/officeDocument/2006/relationships/image" Target="../media/image53.jpeg"/><Relationship Id="rId8" Type="http://schemas.openxmlformats.org/officeDocument/2006/relationships/image" Target="../media/image54.png"/><Relationship Id="rId9" Type="http://schemas.openxmlformats.org/officeDocument/2006/relationships/image" Target="../media/image55.png"/><Relationship Id="rId10" Type="http://schemas.openxmlformats.org/officeDocument/2006/relationships/image" Target="../media/image56.png"/><Relationship Id="rId11" Type="http://schemas.openxmlformats.org/officeDocument/2006/relationships/image" Target="../media/image57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diagramQuickStyle" Target="../diagrams/quickStyle2.xml"/><Relationship Id="rId20" Type="http://schemas.openxmlformats.org/officeDocument/2006/relationships/diagramColors" Target="../diagrams/colors4.xml"/><Relationship Id="rId21" Type="http://schemas.microsoft.com/office/2007/relationships/diagramDrawing" Target="../diagrams/drawing4.xml"/><Relationship Id="rId10" Type="http://schemas.openxmlformats.org/officeDocument/2006/relationships/diagramColors" Target="../diagrams/colors2.xml"/><Relationship Id="rId11" Type="http://schemas.microsoft.com/office/2007/relationships/diagramDrawing" Target="../diagrams/drawing2.xml"/><Relationship Id="rId12" Type="http://schemas.openxmlformats.org/officeDocument/2006/relationships/diagramData" Target="../diagrams/data3.xml"/><Relationship Id="rId13" Type="http://schemas.openxmlformats.org/officeDocument/2006/relationships/diagramLayout" Target="../diagrams/layout3.xml"/><Relationship Id="rId14" Type="http://schemas.openxmlformats.org/officeDocument/2006/relationships/diagramQuickStyle" Target="../diagrams/quickStyle3.xml"/><Relationship Id="rId15" Type="http://schemas.openxmlformats.org/officeDocument/2006/relationships/diagramColors" Target="../diagrams/colors3.xml"/><Relationship Id="rId16" Type="http://schemas.microsoft.com/office/2007/relationships/diagramDrawing" Target="../diagrams/drawing3.xml"/><Relationship Id="rId17" Type="http://schemas.openxmlformats.org/officeDocument/2006/relationships/diagramData" Target="../diagrams/data4.xml"/><Relationship Id="rId18" Type="http://schemas.openxmlformats.org/officeDocument/2006/relationships/diagramLayout" Target="../diagrams/layout4.xml"/><Relationship Id="rId19" Type="http://schemas.openxmlformats.org/officeDocument/2006/relationships/diagramQuickStyle" Target="../diagrams/quickStyle4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.xml"/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7" Type="http://schemas.openxmlformats.org/officeDocument/2006/relationships/diagramData" Target="../diagrams/data2.xml"/><Relationship Id="rId8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4" Type="http://schemas.openxmlformats.org/officeDocument/2006/relationships/diagramQuickStyle" Target="../diagrams/quickStyle5.xml"/><Relationship Id="rId5" Type="http://schemas.openxmlformats.org/officeDocument/2006/relationships/diagramColors" Target="../diagrams/colors5.xml"/><Relationship Id="rId6" Type="http://schemas.microsoft.com/office/2007/relationships/diagramDrawing" Target="../diagrams/drawing5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4" Type="http://schemas.openxmlformats.org/officeDocument/2006/relationships/image" Target="../media/image18.jp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9.png"/><Relationship Id="rId3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762000" y="2286000"/>
            <a:ext cx="7585200" cy="1924020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91C349"/>
                </a:solidFill>
              </a:rPr>
              <a:t>Halfway to Ph.D.? What will happen next?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b-NO" dirty="0" smtClean="0"/>
              <a:t>19.10.2015</a:t>
            </a:r>
            <a:endParaRPr lang="nb-NO" dirty="0"/>
          </a:p>
        </p:txBody>
      </p:sp>
      <p:sp>
        <p:nvSpPr>
          <p:cNvPr id="2" name="TextBox 1"/>
          <p:cNvSpPr txBox="1"/>
          <p:nvPr/>
        </p:nvSpPr>
        <p:spPr>
          <a:xfrm>
            <a:off x="3048000" y="4724400"/>
            <a:ext cx="295465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dirty="0" smtClean="0">
                <a:solidFill>
                  <a:schemeClr val="bg1"/>
                </a:solidFill>
              </a:rPr>
              <a:t>Oleksandr Kazymyrov</a:t>
            </a:r>
            <a:endParaRPr lang="en-US" sz="2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31734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B42EF7-4E00-47E5-BD04-2784F5E2F889}" type="slidenum">
              <a:rPr lang="en-US" noProof="0" smtClean="0"/>
              <a:pPr/>
              <a:t>10</a:t>
            </a:fld>
            <a:endParaRPr lang="en-US" noProof="0" dirty="0"/>
          </a:p>
        </p:txBody>
      </p:sp>
      <p:pic>
        <p:nvPicPr>
          <p:cNvPr id="9" name="Picture 8" descr="campaign2013_03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96000" cy="2196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Picture 10" descr="campaign2013_05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62000"/>
            <a:ext cx="2196000" cy="2196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Picture 11" descr="campaign2013_06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000" y="4662000"/>
            <a:ext cx="2196000" cy="2196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Picture 12" descr="campaign2013_07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62200"/>
            <a:ext cx="2196000" cy="2196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4" name="Picture 13" descr="campaign2013_11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5999" y="0"/>
            <a:ext cx="4522653" cy="67818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5" name="Picture 14" descr="campaign2013_10.jp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000" y="0"/>
            <a:ext cx="2196000" cy="2196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7" name="Picture 16" descr="campaign2013_16.jp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000" y="2362200"/>
            <a:ext cx="2196000" cy="2196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0350510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B42EF7-4E00-47E5-BD04-2784F5E2F889}" type="slidenum">
              <a:rPr lang="en-US" noProof="0" smtClean="0"/>
              <a:pPr/>
              <a:t>11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Post-gradu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lin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3" name="Diagram 12"/>
          <p:cNvGraphicFramePr/>
          <p:nvPr>
            <p:extLst>
              <p:ext uri="{D42A27DB-BD31-4B8C-83A1-F6EECF244321}">
                <p14:modId xmlns:p14="http://schemas.microsoft.com/office/powerpoint/2010/main" val="2648441221"/>
              </p:ext>
            </p:extLst>
          </p:nvPr>
        </p:nvGraphicFramePr>
        <p:xfrm>
          <a:off x="494694" y="2665792"/>
          <a:ext cx="2133600" cy="1041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2383030199"/>
              </p:ext>
            </p:extLst>
          </p:nvPr>
        </p:nvGraphicFramePr>
        <p:xfrm>
          <a:off x="2550884" y="2658534"/>
          <a:ext cx="2133600" cy="1041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3457217962"/>
              </p:ext>
            </p:extLst>
          </p:nvPr>
        </p:nvGraphicFramePr>
        <p:xfrm>
          <a:off x="4576837" y="2658534"/>
          <a:ext cx="2133600" cy="1041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16" name="Diagram 15"/>
          <p:cNvGraphicFramePr/>
          <p:nvPr>
            <p:extLst>
              <p:ext uri="{D42A27DB-BD31-4B8C-83A1-F6EECF244321}">
                <p14:modId xmlns:p14="http://schemas.microsoft.com/office/powerpoint/2010/main" val="996227836"/>
              </p:ext>
            </p:extLst>
          </p:nvPr>
        </p:nvGraphicFramePr>
        <p:xfrm>
          <a:off x="6629400" y="2667000"/>
          <a:ext cx="2133600" cy="1041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</p:spTree>
    <p:extLst>
      <p:ext uri="{BB962C8B-B14F-4D97-AF65-F5344CB8AC3E}">
        <p14:creationId xmlns:p14="http://schemas.microsoft.com/office/powerpoint/2010/main" val="41155535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6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2000" fill="hold"/>
                                        <p:tgtEl>
                                          <p:spTgt spid="1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35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8449E-6 -2.16304E-6 L -0.13379 0.00301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698" y="13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1">
        <p:bldAsOne/>
      </p:bldGraphic>
      <p:bldGraphic spid="10" grpId="0">
        <p:bldAsOne/>
      </p:bldGraphic>
      <p:bldGraphic spid="15" grpId="1">
        <p:bldAsOne/>
      </p:bldGraphic>
      <p:bldGraphic spid="15" grpId="2">
        <p:bldAsOne/>
      </p:bldGraphic>
      <p:bldGraphic spid="16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752400" y="1555200"/>
            <a:ext cx="7629600" cy="4248000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pPr lvl="1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B42EF7-4E00-47E5-BD04-2784F5E2F889}" type="slidenum">
              <a:rPr lang="en-US" noProof="0" smtClean="0"/>
              <a:pPr/>
              <a:t>12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Post-graduation</a:t>
            </a:r>
          </a:p>
          <a:p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sibilities after gradu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6" name="Straight Arrow Connector 15"/>
          <p:cNvCxnSpPr>
            <a:stCxn id="18" idx="2"/>
            <a:endCxn id="19" idx="6"/>
          </p:cNvCxnSpPr>
          <p:nvPr/>
        </p:nvCxnSpPr>
        <p:spPr>
          <a:xfrm flipH="1">
            <a:off x="2900536" y="3424436"/>
            <a:ext cx="3271664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20" idx="4"/>
            <a:endCxn id="21" idx="0"/>
          </p:cNvCxnSpPr>
          <p:nvPr/>
        </p:nvCxnSpPr>
        <p:spPr>
          <a:xfrm>
            <a:off x="4536368" y="2505472"/>
            <a:ext cx="0" cy="191412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8" name="Oval 17"/>
          <p:cNvSpPr/>
          <p:nvPr/>
        </p:nvSpPr>
        <p:spPr>
          <a:xfrm>
            <a:off x="6172200" y="2743200"/>
            <a:ext cx="1757536" cy="1362472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/>
              <a:t>Apply </a:t>
            </a:r>
            <a:r>
              <a:rPr lang="en-US" sz="1600" dirty="0"/>
              <a:t>your knowledge </a:t>
            </a:r>
            <a:r>
              <a:rPr lang="en-US" sz="1600" dirty="0" smtClean="0"/>
              <a:t>in </a:t>
            </a:r>
            <a:r>
              <a:rPr lang="en-US" sz="1600" dirty="0"/>
              <a:t>Industry</a:t>
            </a:r>
            <a:endParaRPr lang="en-US" sz="1600" dirty="0" smtClean="0">
              <a:solidFill>
                <a:srgbClr val="FFFFFF"/>
              </a:solidFill>
            </a:endParaRPr>
          </a:p>
        </p:txBody>
      </p:sp>
      <p:sp>
        <p:nvSpPr>
          <p:cNvPr id="19" name="Oval 18"/>
          <p:cNvSpPr/>
          <p:nvPr/>
        </p:nvSpPr>
        <p:spPr>
          <a:xfrm>
            <a:off x="1143000" y="2743200"/>
            <a:ext cx="1757536" cy="1362472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Continue research in Industry</a:t>
            </a:r>
            <a:endParaRPr lang="en-US" sz="1600" dirty="0" smtClean="0">
              <a:solidFill>
                <a:srgbClr val="FFFFFF"/>
              </a:solidFill>
            </a:endParaRPr>
          </a:p>
        </p:txBody>
      </p:sp>
      <p:sp>
        <p:nvSpPr>
          <p:cNvPr id="20" name="Oval 19"/>
          <p:cNvSpPr/>
          <p:nvPr/>
        </p:nvSpPr>
        <p:spPr>
          <a:xfrm>
            <a:off x="3657600" y="1143000"/>
            <a:ext cx="1757536" cy="1362472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/>
              <a:t>Continue research </a:t>
            </a:r>
            <a:r>
              <a:rPr lang="en-US" sz="1600" dirty="0"/>
              <a:t>in Academia</a:t>
            </a:r>
            <a:endParaRPr lang="nb-NO" sz="1600" dirty="0" smtClean="0">
              <a:solidFill>
                <a:srgbClr val="FFFFFF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3657600" y="4419600"/>
            <a:ext cx="1757536" cy="136247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rgbClr val="FFFFFF"/>
                </a:solidFill>
              </a:rPr>
              <a:t>Travel to Tibet</a:t>
            </a:r>
            <a:endParaRPr lang="en-US" sz="1600" dirty="0" smtClean="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657600" y="2971800"/>
            <a:ext cx="1757536" cy="1021854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ln w="0"/>
                <a:solidFill>
                  <a:srgbClr val="063954"/>
                </a:solidFill>
                <a:effectLst>
                  <a:outerShdw blurRad="38100" dist="19050" dir="2700000" algn="tl" rotWithShape="0">
                    <a:srgbClr val="063954">
                      <a:alpha val="40000"/>
                    </a:srgbClr>
                  </a:outerShdw>
                </a:effectLst>
              </a:rPr>
              <a:t>Diploma gives a lot of opportunities</a:t>
            </a:r>
            <a:endParaRPr lang="en-US" dirty="0" smtClean="0">
              <a:ln w="0"/>
              <a:solidFill>
                <a:srgbClr val="063954"/>
              </a:solidFill>
              <a:effectLst>
                <a:outerShdw blurRad="38100" dist="19050" dir="2700000" algn="tl" rotWithShape="0">
                  <a:srgbClr val="063954">
                    <a:alpha val="4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6629030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0" grpId="0" animBg="1"/>
      <p:bldP spid="2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389186" y="6476400"/>
            <a:ext cx="2133600" cy="159370"/>
          </a:xfrm>
          <a:prstGeom prst="rect">
            <a:avLst/>
          </a:prstGeom>
        </p:spPr>
        <p:txBody>
          <a:bodyPr/>
          <a:lstStyle/>
          <a:p>
            <a:fld id="{37B42EF7-4E00-47E5-BD04-2784F5E2F889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4294967295"/>
          </p:nvPr>
        </p:nvSpPr>
        <p:spPr>
          <a:xfrm>
            <a:off x="387916" y="6238800"/>
            <a:ext cx="5623200" cy="162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ost-graduation</a:t>
            </a:r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20688"/>
            <a:ext cx="7370605" cy="547200"/>
          </a:xfrm>
        </p:spPr>
        <p:txBody>
          <a:bodyPr/>
          <a:lstStyle/>
          <a:p>
            <a:r>
              <a:rPr lang="da-DK" dirty="0" smtClean="0"/>
              <a:t>A Life-</a:t>
            </a:r>
            <a:r>
              <a:rPr lang="da-DK" dirty="0" err="1"/>
              <a:t>C</a:t>
            </a:r>
            <a:r>
              <a:rPr lang="da-DK" dirty="0" err="1" smtClean="0"/>
              <a:t>ycle</a:t>
            </a:r>
            <a:r>
              <a:rPr lang="da-DK" dirty="0" smtClean="0"/>
              <a:t> of Job Hunting</a:t>
            </a:r>
            <a:endParaRPr lang="en-GB" dirty="0"/>
          </a:p>
        </p:txBody>
      </p:sp>
      <p:grpSp>
        <p:nvGrpSpPr>
          <p:cNvPr id="5" name="Gruppe 4"/>
          <p:cNvGrpSpPr/>
          <p:nvPr/>
        </p:nvGrpSpPr>
        <p:grpSpPr>
          <a:xfrm>
            <a:off x="4191000" y="1371600"/>
            <a:ext cx="4572000" cy="4572000"/>
            <a:chOff x="2470365" y="1534605"/>
            <a:chExt cx="4189866" cy="4077652"/>
          </a:xfrm>
        </p:grpSpPr>
        <p:sp>
          <p:nvSpPr>
            <p:cNvPr id="6" name="Circular Arrow 5"/>
            <p:cNvSpPr/>
            <p:nvPr/>
          </p:nvSpPr>
          <p:spPr>
            <a:xfrm>
              <a:off x="2470365" y="1534605"/>
              <a:ext cx="4189866" cy="4077652"/>
            </a:xfrm>
            <a:prstGeom prst="circularArrow">
              <a:avLst>
                <a:gd name="adj1" fmla="val 21461"/>
                <a:gd name="adj2" fmla="val 1536655"/>
                <a:gd name="adj3" fmla="val 20048453"/>
                <a:gd name="adj4" fmla="val 71802"/>
                <a:gd name="adj5" fmla="val 20855"/>
              </a:avLst>
            </a:prstGeom>
            <a:gradFill flip="none" rotWithShape="1">
              <a:gsLst>
                <a:gs pos="0">
                  <a:srgbClr val="00ADD3"/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2700000" scaled="0"/>
              <a:tileRect/>
            </a:gra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 err="1">
                <a:solidFill>
                  <a:srgbClr val="918A86"/>
                </a:solidFill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3912778" y="3233627"/>
              <a:ext cx="129614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b="1" dirty="0" smtClean="0">
                  <a:solidFill>
                    <a:srgbClr val="063954"/>
                  </a:solidFill>
                </a:rPr>
                <a:t>Job</a:t>
              </a:r>
              <a:br>
                <a:rPr lang="en-GB" b="1" dirty="0" smtClean="0">
                  <a:solidFill>
                    <a:srgbClr val="063954"/>
                  </a:solidFill>
                </a:rPr>
              </a:br>
              <a:r>
                <a:rPr lang="en-GB" b="1" dirty="0" smtClean="0">
                  <a:solidFill>
                    <a:srgbClr val="063954"/>
                  </a:solidFill>
                </a:rPr>
                <a:t>Hunting</a:t>
              </a:r>
              <a:endParaRPr lang="en-GB" b="1" dirty="0">
                <a:solidFill>
                  <a:srgbClr val="063954"/>
                </a:solidFill>
              </a:endParaRPr>
            </a:p>
          </p:txBody>
        </p:sp>
        <p:sp>
          <p:nvSpPr>
            <p:cNvPr id="12" name="AutoShape 72"/>
            <p:cNvSpPr>
              <a:spLocks noChangeArrowheads="1"/>
            </p:cNvSpPr>
            <p:nvPr/>
          </p:nvSpPr>
          <p:spPr bwMode="auto">
            <a:xfrm>
              <a:off x="3256320" y="2132856"/>
              <a:ext cx="2611824" cy="490311"/>
            </a:xfrm>
            <a:prstGeom prst="roundRect">
              <a:avLst>
                <a:gd name="adj" fmla="val 16667"/>
              </a:avLst>
            </a:prstGeom>
            <a:noFill/>
            <a:ln>
              <a:noFill/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>
                <a:defRPr/>
              </a:pPr>
              <a:r>
                <a:rPr lang="en-US" sz="1600" b="1" i="1" dirty="0" smtClean="0">
                  <a:solidFill>
                    <a:srgbClr val="063954"/>
                  </a:solidFill>
                </a:rPr>
                <a:t>Invitation</a:t>
              </a:r>
              <a:br>
                <a:rPr lang="en-US" sz="1600" b="1" i="1" dirty="0" smtClean="0">
                  <a:solidFill>
                    <a:srgbClr val="063954"/>
                  </a:solidFill>
                </a:rPr>
              </a:br>
              <a:r>
                <a:rPr lang="en-US" sz="1600" b="1" i="1" dirty="0" smtClean="0">
                  <a:solidFill>
                    <a:srgbClr val="063954"/>
                  </a:solidFill>
                </a:rPr>
                <a:t>for interview</a:t>
              </a:r>
              <a:endParaRPr lang="en-US" sz="1600" b="1" i="1" dirty="0">
                <a:solidFill>
                  <a:srgbClr val="063954"/>
                </a:solidFill>
              </a:endParaRPr>
            </a:p>
          </p:txBody>
        </p:sp>
        <p:sp>
          <p:nvSpPr>
            <p:cNvPr id="14" name="Text Box 71"/>
            <p:cNvSpPr txBox="1">
              <a:spLocks noChangeArrowheads="1"/>
            </p:cNvSpPr>
            <p:nvPr/>
          </p:nvSpPr>
          <p:spPr bwMode="auto">
            <a:xfrm rot="16200000">
              <a:off x="4263653" y="3573309"/>
              <a:ext cx="603896" cy="223520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eaVert" wrap="square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600" b="1" i="1" dirty="0" smtClean="0">
                  <a:solidFill>
                    <a:srgbClr val="063954"/>
                  </a:solidFill>
                </a:rPr>
                <a:t>Search</a:t>
              </a:r>
              <a:br>
                <a:rPr lang="en-US" sz="1600" b="1" i="1" dirty="0" smtClean="0">
                  <a:solidFill>
                    <a:srgbClr val="063954"/>
                  </a:solidFill>
                </a:rPr>
              </a:br>
              <a:r>
                <a:rPr lang="en-US" sz="1600" b="1" i="1" dirty="0" smtClean="0">
                  <a:solidFill>
                    <a:srgbClr val="063954"/>
                  </a:solidFill>
                </a:rPr>
                <a:t>for a job</a:t>
              </a:r>
              <a:endParaRPr lang="en-GB" sz="1600" b="1" i="1" dirty="0">
                <a:solidFill>
                  <a:srgbClr val="063954"/>
                </a:solidFill>
              </a:endParaRPr>
            </a:p>
          </p:txBody>
        </p:sp>
        <p:sp>
          <p:nvSpPr>
            <p:cNvPr id="15" name="Text Box 69"/>
            <p:cNvSpPr txBox="1">
              <a:spLocks noChangeArrowheads="1"/>
            </p:cNvSpPr>
            <p:nvPr/>
          </p:nvSpPr>
          <p:spPr bwMode="auto">
            <a:xfrm rot="16200000">
              <a:off x="5397208" y="2441863"/>
              <a:ext cx="603896" cy="1100048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eaVert" wrap="square">
              <a:spAutoFit/>
            </a:bodyPr>
            <a:lstStyle/>
            <a:p>
              <a:pPr algn="ctr">
                <a:defRPr/>
              </a:pPr>
              <a:r>
                <a:rPr lang="en-US" sz="1600" b="1" i="1" dirty="0" smtClean="0">
                  <a:solidFill>
                    <a:srgbClr val="063954"/>
                  </a:solidFill>
                </a:rPr>
                <a:t>1-5 </a:t>
              </a:r>
            </a:p>
            <a:p>
              <a:pPr algn="ctr">
                <a:defRPr/>
              </a:pPr>
              <a:r>
                <a:rPr lang="en-US" sz="1600" b="1" i="1" dirty="0" smtClean="0">
                  <a:solidFill>
                    <a:srgbClr val="063954"/>
                  </a:solidFill>
                </a:rPr>
                <a:t>Interviews</a:t>
              </a:r>
              <a:endParaRPr lang="en-US" sz="1600" b="1" i="1" dirty="0">
                <a:solidFill>
                  <a:srgbClr val="063954"/>
                </a:solidFill>
              </a:endParaRPr>
            </a:p>
          </p:txBody>
        </p:sp>
        <p:sp>
          <p:nvSpPr>
            <p:cNvPr id="16" name="Text Box 69"/>
            <p:cNvSpPr txBox="1">
              <a:spLocks noChangeArrowheads="1"/>
            </p:cNvSpPr>
            <p:nvPr/>
          </p:nvSpPr>
          <p:spPr bwMode="auto">
            <a:xfrm rot="16200000">
              <a:off x="3129026" y="2985633"/>
              <a:ext cx="384297" cy="1152128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eaVert" wrap="square" anchor="b">
              <a:spAutoFit/>
            </a:bodyPr>
            <a:lstStyle/>
            <a:p>
              <a:pPr algn="ctr">
                <a:defRPr/>
              </a:pPr>
              <a:r>
                <a:rPr lang="en-US" sz="1600" b="1" i="1" dirty="0" smtClean="0">
                  <a:solidFill>
                    <a:srgbClr val="063954"/>
                  </a:solidFill>
                </a:rPr>
                <a:t>Send CV</a:t>
              </a:r>
              <a:endParaRPr lang="en-US" sz="1600" b="1" i="1" dirty="0">
                <a:solidFill>
                  <a:srgbClr val="063954"/>
                </a:solidFill>
              </a:endParaRPr>
            </a:p>
          </p:txBody>
        </p:sp>
      </p:grpSp>
      <p:sp>
        <p:nvSpPr>
          <p:cNvPr id="17" name="Content Placeholder 1"/>
          <p:cNvSpPr txBox="1">
            <a:spLocks/>
          </p:cNvSpPr>
          <p:nvPr/>
        </p:nvSpPr>
        <p:spPr>
          <a:xfrm>
            <a:off x="381000" y="1524000"/>
            <a:ext cx="4038600" cy="4248000"/>
          </a:xfrm>
          <a:prstGeom prst="rect">
            <a:avLst/>
          </a:prstGeom>
        </p:spPr>
        <p:txBody>
          <a:bodyPr/>
          <a:lstStyle>
            <a:lvl1pPr marL="180975" indent="-180975" algn="l" defTabSz="914400" rtl="0" eaLnBrk="1" latinLnBrk="0" hangingPunct="1">
              <a:spcBef>
                <a:spcPts val="1300"/>
              </a:spcBef>
              <a:buClr>
                <a:srgbClr val="5E5D5C"/>
              </a:buClr>
              <a:buFont typeface="Arial" pitchFamily="34" charset="0"/>
              <a:buChar char="•"/>
              <a:defRPr sz="1800" kern="1200">
                <a:solidFill>
                  <a:srgbClr val="5E5D5C"/>
                </a:solidFill>
                <a:latin typeface="Georgia" pitchFamily="18" charset="0"/>
                <a:ea typeface="+mn-ea"/>
                <a:cs typeface="+mn-cs"/>
              </a:defRPr>
            </a:lvl1pPr>
            <a:lvl2pPr marL="361950" indent="-180975" algn="l" defTabSz="919163" rtl="0" eaLnBrk="1" latinLnBrk="0" hangingPunct="1">
              <a:spcBef>
                <a:spcPts val="600"/>
              </a:spcBef>
              <a:buClr>
                <a:srgbClr val="5E5D5C"/>
              </a:buClr>
              <a:buSzPct val="80000"/>
              <a:buFont typeface="Courier New" pitchFamily="49" charset="0"/>
              <a:buChar char="o"/>
              <a:defRPr sz="1400" kern="1200">
                <a:solidFill>
                  <a:srgbClr val="5E5D5C"/>
                </a:solidFill>
                <a:latin typeface="Georgia" pitchFamily="18" charset="0"/>
                <a:ea typeface="+mn-ea"/>
                <a:cs typeface="+mn-cs"/>
              </a:defRPr>
            </a:lvl2pPr>
            <a:lvl3pPr marL="542925" indent="-180975" algn="l" defTabSz="914400" rtl="0" eaLnBrk="1" latinLnBrk="0" hangingPunct="1">
              <a:spcBef>
                <a:spcPts val="600"/>
              </a:spcBef>
              <a:buClr>
                <a:srgbClr val="5E5D5C"/>
              </a:buClr>
              <a:buFont typeface="Georgia" pitchFamily="18" charset="0"/>
              <a:buChar char="-"/>
              <a:defRPr sz="1400" kern="1200">
                <a:solidFill>
                  <a:srgbClr val="5E5D5C"/>
                </a:solidFill>
                <a:latin typeface="Georgia" pitchFamily="18" charset="0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spcBef>
                <a:spcPts val="600"/>
              </a:spcBef>
              <a:buClr>
                <a:srgbClr val="5E5D5C"/>
              </a:buClr>
              <a:buFont typeface="Georgia" pitchFamily="18" charset="0"/>
              <a:buChar char="-"/>
              <a:defRPr sz="1400" kern="1200">
                <a:solidFill>
                  <a:srgbClr val="5E5D5C"/>
                </a:solidFill>
                <a:latin typeface="Georgia" pitchFamily="18" charset="0"/>
                <a:ea typeface="+mn-ea"/>
                <a:cs typeface="+mn-cs"/>
              </a:defRPr>
            </a:lvl4pPr>
            <a:lvl5pPr marL="895350" indent="-180975" algn="l" defTabSz="914400" rtl="0" eaLnBrk="1" latinLnBrk="0" hangingPunct="1">
              <a:spcBef>
                <a:spcPts val="600"/>
              </a:spcBef>
              <a:buClr>
                <a:srgbClr val="5E5D5C"/>
              </a:buClr>
              <a:buFont typeface="Georgia" pitchFamily="18" charset="0"/>
              <a:buChar char="-"/>
              <a:defRPr sz="1400" kern="1200">
                <a:solidFill>
                  <a:srgbClr val="5E5D5C"/>
                </a:solidFill>
                <a:latin typeface="Georgia" pitchFamily="18" charset="0"/>
                <a:ea typeface="+mn-ea"/>
                <a:cs typeface="+mn-cs"/>
              </a:defRPr>
            </a:lvl5pPr>
            <a:lvl6pPr marL="2062163" indent="-182563" algn="l" defTabSz="914400" rtl="0" eaLnBrk="1" latinLnBrk="0" hangingPunct="1">
              <a:spcBef>
                <a:spcPts val="600"/>
              </a:spcBef>
              <a:buClr>
                <a:srgbClr val="5E5D5C"/>
              </a:buClr>
              <a:buFont typeface="Georgia" pitchFamily="18" charset="0"/>
              <a:buChar char="-"/>
              <a:defRPr sz="1400" kern="1200">
                <a:solidFill>
                  <a:srgbClr val="5E5D5C"/>
                </a:solidFill>
                <a:latin typeface="Georgia" pitchFamily="18" charset="0"/>
                <a:ea typeface="+mn-ea"/>
                <a:cs typeface="+mn-cs"/>
              </a:defRPr>
            </a:lvl6pPr>
            <a:lvl7pPr marL="2252663" indent="-190500" algn="l" defTabSz="914400" rtl="0" eaLnBrk="1" latinLnBrk="0" hangingPunct="1">
              <a:spcBef>
                <a:spcPts val="600"/>
              </a:spcBef>
              <a:buClr>
                <a:srgbClr val="5E5D5C"/>
              </a:buClr>
              <a:buFont typeface="Georgia" pitchFamily="18" charset="0"/>
              <a:buChar char="-"/>
              <a:defRPr sz="1400" kern="1200">
                <a:solidFill>
                  <a:srgbClr val="5E5D5C"/>
                </a:solidFill>
                <a:latin typeface="Georgia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/>
              <a:buChar char="•"/>
            </a:pPr>
            <a:endParaRPr lang="en-US" dirty="0" smtClean="0"/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Interviews</a:t>
            </a:r>
            <a:r>
              <a:rPr lang="ru-RU" dirty="0" smtClean="0"/>
              <a:t> (</a:t>
            </a:r>
            <a:r>
              <a:rPr lang="en-US" dirty="0" smtClean="0"/>
              <a:t>many and</a:t>
            </a:r>
            <a:r>
              <a:rPr lang="ru-RU" dirty="0" smtClean="0"/>
              <a:t> </a:t>
            </a:r>
            <a:r>
              <a:rPr lang="en-US" dirty="0"/>
              <a:t>various</a:t>
            </a:r>
            <a:r>
              <a:rPr lang="ru-RU" dirty="0" smtClean="0"/>
              <a:t>)</a:t>
            </a:r>
            <a:endParaRPr lang="en-US" dirty="0" smtClean="0"/>
          </a:p>
          <a:p>
            <a:pPr marL="466725" lvl="2" indent="-285750">
              <a:spcBef>
                <a:spcPts val="1300"/>
              </a:spcBef>
              <a:buFont typeface="Arial"/>
              <a:buChar char="•"/>
            </a:pPr>
            <a:r>
              <a:rPr lang="en-US" sz="1800" dirty="0"/>
              <a:t>Google</a:t>
            </a:r>
            <a:r>
              <a:rPr lang="en-US" sz="1800" dirty="0" smtClean="0"/>
              <a:t>,</a:t>
            </a:r>
            <a:r>
              <a:rPr lang="en-US" sz="1800" dirty="0"/>
              <a:t> </a:t>
            </a:r>
            <a:r>
              <a:rPr lang="en-US" sz="1800" dirty="0" err="1" smtClean="0"/>
              <a:t>CloudFlare</a:t>
            </a:r>
            <a:r>
              <a:rPr lang="en-US" sz="1800" dirty="0"/>
              <a:t>, </a:t>
            </a:r>
            <a:r>
              <a:rPr lang="en-US" sz="1800" dirty="0" err="1" smtClean="0"/>
              <a:t>VizRT</a:t>
            </a:r>
            <a:r>
              <a:rPr lang="en-US" sz="1800" dirty="0" smtClean="0"/>
              <a:t>, </a:t>
            </a:r>
            <a:r>
              <a:rPr lang="en-US" sz="1800" dirty="0" err="1" smtClean="0"/>
              <a:t>Skandiabanken</a:t>
            </a:r>
            <a:r>
              <a:rPr lang="en-US" sz="1800" dirty="0" smtClean="0"/>
              <a:t>, EVRY</a:t>
            </a:r>
          </a:p>
          <a:p>
            <a:pPr marL="285750" lvl="2" indent="-285750">
              <a:buFont typeface="Arial"/>
              <a:buChar char="•"/>
            </a:pPr>
            <a:r>
              <a:rPr lang="en-US" sz="1800" dirty="0"/>
              <a:t>9 month of job </a:t>
            </a:r>
            <a:r>
              <a:rPr lang="en-US" sz="1800" dirty="0" smtClean="0"/>
              <a:t>search</a:t>
            </a:r>
          </a:p>
          <a:p>
            <a:pPr marL="457200" lvl="3" indent="-285750">
              <a:buFont typeface="Courier New"/>
              <a:buChar char="o"/>
            </a:pPr>
            <a:r>
              <a:rPr lang="en-US" dirty="0" err="1" smtClean="0"/>
              <a:t>CloudFlare</a:t>
            </a:r>
            <a:r>
              <a:rPr lang="en-US" dirty="0" smtClean="0"/>
              <a:t>:</a:t>
            </a:r>
          </a:p>
          <a:p>
            <a:pPr marL="638175" lvl="4" indent="-285750">
              <a:buFont typeface="Wingdings" charset="2"/>
              <a:buChar char="§"/>
            </a:pPr>
            <a:r>
              <a:rPr lang="en-US" dirty="0" smtClean="0"/>
              <a:t>5 rounds</a:t>
            </a:r>
          </a:p>
          <a:p>
            <a:pPr marL="638175" lvl="4" indent="-285750">
              <a:buFont typeface="Wingdings" charset="2"/>
              <a:buChar char="§"/>
            </a:pPr>
            <a:r>
              <a:rPr lang="en-US" dirty="0" smtClean="0"/>
              <a:t>November - March</a:t>
            </a:r>
          </a:p>
          <a:p>
            <a:pPr marL="285750" lvl="2" indent="-285750" algn="just">
              <a:buFont typeface="Arial"/>
              <a:buChar char="•"/>
            </a:pPr>
            <a:r>
              <a:rPr lang="en-US" sz="1800" dirty="0" smtClean="0"/>
              <a:t>From a couple of weeks till 3 months </a:t>
            </a:r>
            <a:r>
              <a:rPr lang="en-US" sz="1800" dirty="0"/>
              <a:t>of </a:t>
            </a:r>
            <a:r>
              <a:rPr lang="en-US" sz="1800" dirty="0" smtClean="0"/>
              <a:t>waiting for the final decision</a:t>
            </a:r>
          </a:p>
          <a:p>
            <a:pPr marL="285750" lvl="2" indent="-285750">
              <a:buFont typeface="Arial"/>
              <a:buChar char="•"/>
            </a:pPr>
            <a:r>
              <a:rPr lang="en-US" sz="1800" dirty="0" smtClean="0"/>
              <a:t>A long</a:t>
            </a:r>
            <a:r>
              <a:rPr lang="en-US" sz="1800" dirty="0"/>
              <a:t>-</a:t>
            </a:r>
            <a:r>
              <a:rPr lang="en-US" sz="1800" dirty="0" smtClean="0"/>
              <a:t>awaited congratulations!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5322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B42EF7-4E00-47E5-BD04-2784F5E2F889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5184"/>
            <a:ext cx="2533650" cy="1809750"/>
          </a:xfrm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724128" y="3413520"/>
            <a:ext cx="3168352" cy="1889839"/>
          </a:xfrm>
        </p:spPr>
        <p:txBody>
          <a:bodyPr/>
          <a:lstStyle/>
          <a:p>
            <a:endParaRPr lang="nb-NO" dirty="0"/>
          </a:p>
        </p:txBody>
      </p:sp>
      <p:pic>
        <p:nvPicPr>
          <p:cNvPr id="6" name="Content Placeholder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1670" y="4648776"/>
            <a:ext cx="2015149" cy="18002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7660" y="5098526"/>
            <a:ext cx="1797617" cy="177364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60445"/>
            <a:ext cx="2915816" cy="291581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211960" cy="210598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369"/>
          <a:stretch/>
        </p:blipFill>
        <p:spPr>
          <a:xfrm>
            <a:off x="6600975" y="0"/>
            <a:ext cx="2507529" cy="20955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5855" y="0"/>
            <a:ext cx="2181225" cy="2095500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3303757" y="2171803"/>
            <a:ext cx="580474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8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elcome to </a:t>
            </a:r>
            <a:endParaRPr lang="nb-NO" sz="8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62996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B42EF7-4E00-47E5-BD04-2784F5E2F889}" type="slidenum">
              <a:rPr lang="en-US" noProof="0" smtClean="0"/>
              <a:pPr/>
              <a:t>15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Half a year in industry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lin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3" name="Diagram 12"/>
          <p:cNvGraphicFramePr/>
          <p:nvPr>
            <p:extLst>
              <p:ext uri="{D42A27DB-BD31-4B8C-83A1-F6EECF244321}">
                <p14:modId xmlns:p14="http://schemas.microsoft.com/office/powerpoint/2010/main" val="2702550622"/>
              </p:ext>
            </p:extLst>
          </p:nvPr>
        </p:nvGraphicFramePr>
        <p:xfrm>
          <a:off x="494694" y="2665792"/>
          <a:ext cx="2133600" cy="1041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3457479836"/>
              </p:ext>
            </p:extLst>
          </p:nvPr>
        </p:nvGraphicFramePr>
        <p:xfrm>
          <a:off x="2550884" y="2658534"/>
          <a:ext cx="2133600" cy="1041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2112501820"/>
              </p:ext>
            </p:extLst>
          </p:nvPr>
        </p:nvGraphicFramePr>
        <p:xfrm>
          <a:off x="4576837" y="2658534"/>
          <a:ext cx="2133600" cy="1041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16" name="Diagram 15"/>
          <p:cNvGraphicFramePr/>
          <p:nvPr>
            <p:extLst>
              <p:ext uri="{D42A27DB-BD31-4B8C-83A1-F6EECF244321}">
                <p14:modId xmlns:p14="http://schemas.microsoft.com/office/powerpoint/2010/main" val="2968034293"/>
              </p:ext>
            </p:extLst>
          </p:nvPr>
        </p:nvGraphicFramePr>
        <p:xfrm>
          <a:off x="6629400" y="2667000"/>
          <a:ext cx="2133600" cy="1041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</p:spTree>
    <p:extLst>
      <p:ext uri="{BB962C8B-B14F-4D97-AF65-F5344CB8AC3E}">
        <p14:creationId xmlns:p14="http://schemas.microsoft.com/office/powerpoint/2010/main" val="13832178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35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 L -0.25 0  E" pathEditMode="relative" ptsTypes="">
                                      <p:cBhvr>
                                        <p:cTn id="12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" presetClass="emp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000" fill="hold"/>
                                        <p:tgtEl>
                                          <p:spTgt spid="1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>
        <p:bldAsOne/>
      </p:bldGraphic>
      <p:bldGraphic spid="10" grpId="0">
        <p:bldAsOne/>
      </p:bldGraphic>
      <p:bldGraphic spid="15" grpId="0">
        <p:bldAsOne/>
      </p:bldGraphic>
      <p:bldGraphic spid="16" grpId="0">
        <p:bldAsOne/>
      </p:bldGraphic>
      <p:bldGraphic spid="16" grpId="1">
        <p:bldAsOne/>
      </p:bldGraphic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898E43A-5574-4F3A-910A-4E47FA904B69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Half a year in industry</a:t>
            </a:r>
          </a:p>
        </p:txBody>
      </p:sp>
      <p:sp>
        <p:nvSpPr>
          <p:cNvPr id="81922" name="Rubrik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RY – the most local IT company in the Nordics</a:t>
            </a:r>
          </a:p>
        </p:txBody>
      </p:sp>
      <p:sp>
        <p:nvSpPr>
          <p:cNvPr id="48129" name="Platshållare för text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Unique position</a:t>
            </a:r>
            <a:endParaRPr lang="en-US" dirty="0"/>
          </a:p>
        </p:txBody>
      </p:sp>
      <p:sp>
        <p:nvSpPr>
          <p:cNvPr id="81924" name="Platshållare för innehåll 8"/>
          <p:cNvSpPr>
            <a:spLocks noGrp="1"/>
          </p:cNvSpPr>
          <p:nvPr>
            <p:ph idx="4294967295"/>
          </p:nvPr>
        </p:nvSpPr>
        <p:spPr>
          <a:xfrm>
            <a:off x="5080000" y="1352550"/>
            <a:ext cx="4064000" cy="4392613"/>
          </a:xfrm>
        </p:spPr>
        <p:txBody>
          <a:bodyPr/>
          <a:lstStyle/>
          <a:p>
            <a:pPr marL="107950" indent="-96838" eaLnBrk="1" hangingPunct="1">
              <a:lnSpc>
                <a:spcPct val="80000"/>
              </a:lnSpc>
              <a:buFont typeface="Arial" charset="0"/>
              <a:buNone/>
            </a:pPr>
            <a:r>
              <a:rPr lang="en-US" sz="1200" b="1" dirty="0" smtClean="0">
                <a:solidFill>
                  <a:srgbClr val="00B0F0"/>
                </a:solidFill>
              </a:rPr>
              <a:t>Close to our customers</a:t>
            </a:r>
          </a:p>
          <a:p>
            <a:pPr marL="107950" indent="-96838" eaLnBrk="1" hangingPunct="1">
              <a:lnSpc>
                <a:spcPct val="80000"/>
              </a:lnSpc>
              <a:spcBef>
                <a:spcPts val="700"/>
              </a:spcBef>
            </a:pPr>
            <a:r>
              <a:rPr lang="en-US" sz="1200" dirty="0" smtClean="0">
                <a:solidFill>
                  <a:srgbClr val="716B68"/>
                </a:solidFill>
              </a:rPr>
              <a:t>50 towns and cities with capacity to deliver</a:t>
            </a:r>
          </a:p>
          <a:p>
            <a:pPr marL="107950" indent="-96838" eaLnBrk="1" hangingPunct="1">
              <a:lnSpc>
                <a:spcPct val="80000"/>
              </a:lnSpc>
              <a:spcBef>
                <a:spcPts val="700"/>
              </a:spcBef>
            </a:pPr>
            <a:r>
              <a:rPr lang="en-US" sz="1200" dirty="0" smtClean="0">
                <a:solidFill>
                  <a:srgbClr val="716B68"/>
                </a:solidFill>
              </a:rPr>
              <a:t>11 regional offices with specialist competencies </a:t>
            </a:r>
          </a:p>
          <a:p>
            <a:pPr marL="107950" indent="-96838" eaLnBrk="1" hangingPunct="1">
              <a:lnSpc>
                <a:spcPct val="80000"/>
              </a:lnSpc>
              <a:spcBef>
                <a:spcPts val="700"/>
              </a:spcBef>
              <a:buFont typeface="Arial" charset="0"/>
              <a:buNone/>
            </a:pPr>
            <a:endParaRPr lang="en-US" sz="1200" dirty="0" smtClean="0">
              <a:solidFill>
                <a:srgbClr val="716B68"/>
              </a:solidFill>
            </a:endParaRPr>
          </a:p>
          <a:p>
            <a:pPr marL="11112" indent="0" eaLnBrk="1" hangingPunct="1">
              <a:lnSpc>
                <a:spcPct val="80000"/>
              </a:lnSpc>
              <a:spcBef>
                <a:spcPts val="700"/>
              </a:spcBef>
              <a:buNone/>
            </a:pPr>
            <a:r>
              <a:rPr lang="en-US" sz="1200" b="1" dirty="0" smtClean="0">
                <a:solidFill>
                  <a:srgbClr val="00B0F0"/>
                </a:solidFill>
              </a:rPr>
              <a:t>Strong competencies</a:t>
            </a:r>
          </a:p>
          <a:p>
            <a:pPr marL="107950" indent="-96838" eaLnBrk="1" hangingPunct="1">
              <a:lnSpc>
                <a:spcPct val="80000"/>
              </a:lnSpc>
              <a:spcBef>
                <a:spcPts val="700"/>
              </a:spcBef>
            </a:pPr>
            <a:r>
              <a:rPr lang="en-US" sz="1200" dirty="0" smtClean="0">
                <a:solidFill>
                  <a:schemeClr val="accent3">
                    <a:lumMod val="50000"/>
                  </a:schemeClr>
                </a:solidFill>
              </a:rPr>
              <a:t>10,300 employees</a:t>
            </a:r>
          </a:p>
          <a:p>
            <a:pPr marL="107950" indent="-96838" eaLnBrk="1" hangingPunct="1">
              <a:lnSpc>
                <a:spcPct val="80000"/>
              </a:lnSpc>
              <a:spcBef>
                <a:spcPts val="700"/>
              </a:spcBef>
            </a:pPr>
            <a:r>
              <a:rPr lang="en-US" sz="1200" dirty="0" smtClean="0">
                <a:solidFill>
                  <a:schemeClr val="accent3">
                    <a:lumMod val="50000"/>
                  </a:schemeClr>
                </a:solidFill>
              </a:rPr>
              <a:t>4, 900 employees in Norway </a:t>
            </a:r>
          </a:p>
          <a:p>
            <a:pPr marL="107950" indent="-96838" eaLnBrk="1" hangingPunct="1">
              <a:lnSpc>
                <a:spcPct val="80000"/>
              </a:lnSpc>
              <a:spcBef>
                <a:spcPts val="700"/>
              </a:spcBef>
            </a:pPr>
            <a:r>
              <a:rPr lang="en-US" sz="1200" dirty="0" smtClean="0">
                <a:solidFill>
                  <a:schemeClr val="accent3">
                    <a:lumMod val="50000"/>
                  </a:schemeClr>
                </a:solidFill>
              </a:rPr>
              <a:t>2,500 in Sweden</a:t>
            </a:r>
          </a:p>
          <a:p>
            <a:pPr marL="107950" indent="-96838" eaLnBrk="1" hangingPunct="1">
              <a:lnSpc>
                <a:spcPct val="80000"/>
              </a:lnSpc>
              <a:spcBef>
                <a:spcPts val="700"/>
              </a:spcBef>
            </a:pPr>
            <a:r>
              <a:rPr lang="en-US" sz="1200" dirty="0" smtClean="0">
                <a:solidFill>
                  <a:schemeClr val="accent3">
                    <a:lumMod val="50000"/>
                  </a:schemeClr>
                </a:solidFill>
              </a:rPr>
              <a:t>2,900 in India, Ukraine and Latvia</a:t>
            </a:r>
          </a:p>
          <a:p>
            <a:pPr marL="107950" indent="-96838" eaLnBrk="1" hangingPunct="1">
              <a:lnSpc>
                <a:spcPct val="80000"/>
              </a:lnSpc>
              <a:spcBef>
                <a:spcPts val="700"/>
              </a:spcBef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11112" indent="0" eaLnBrk="1" hangingPunct="1">
              <a:lnSpc>
                <a:spcPct val="80000"/>
              </a:lnSpc>
              <a:spcBef>
                <a:spcPts val="700"/>
              </a:spcBef>
              <a:buNone/>
            </a:pPr>
            <a:r>
              <a:rPr lang="en-US" sz="1200" b="1" dirty="0" smtClean="0">
                <a:solidFill>
                  <a:srgbClr val="00B0F0"/>
                </a:solidFill>
              </a:rPr>
              <a:t>Key figures </a:t>
            </a:r>
          </a:p>
          <a:p>
            <a:pPr marL="107950" indent="-96838" eaLnBrk="1" hangingPunct="1">
              <a:lnSpc>
                <a:spcPct val="80000"/>
              </a:lnSpc>
              <a:spcBef>
                <a:spcPts val="700"/>
              </a:spcBef>
            </a:pPr>
            <a:r>
              <a:rPr lang="en-US" sz="1200" dirty="0" smtClean="0">
                <a:solidFill>
                  <a:srgbClr val="716B68"/>
                </a:solidFill>
              </a:rPr>
              <a:t>Revenue NOK 12.7 </a:t>
            </a:r>
            <a:r>
              <a:rPr lang="en-US" sz="1200" dirty="0" err="1" smtClean="0">
                <a:solidFill>
                  <a:srgbClr val="716B68"/>
                </a:solidFill>
              </a:rPr>
              <a:t>bn</a:t>
            </a:r>
            <a:r>
              <a:rPr lang="en-US" sz="1200" dirty="0" smtClean="0">
                <a:solidFill>
                  <a:srgbClr val="716B68"/>
                </a:solidFill>
              </a:rPr>
              <a:t> in 2014</a:t>
            </a:r>
          </a:p>
          <a:p>
            <a:pPr marL="107950" indent="-96838" eaLnBrk="1" hangingPunct="1">
              <a:lnSpc>
                <a:spcPct val="90000"/>
              </a:lnSpc>
              <a:spcBef>
                <a:spcPts val="1900"/>
              </a:spcBef>
              <a:buFont typeface="Arial" charset="0"/>
              <a:buNone/>
            </a:pPr>
            <a:r>
              <a:rPr lang="en-US" sz="1200" b="1" dirty="0" smtClean="0">
                <a:solidFill>
                  <a:srgbClr val="00B0F0"/>
                </a:solidFill>
              </a:rPr>
              <a:t>Shareholders</a:t>
            </a:r>
          </a:p>
          <a:p>
            <a:pPr marL="107950" indent="-96838" eaLnBrk="1" hangingPunct="1">
              <a:lnSpc>
                <a:spcPct val="90000"/>
              </a:lnSpc>
              <a:spcBef>
                <a:spcPts val="700"/>
              </a:spcBef>
            </a:pPr>
            <a:r>
              <a:rPr lang="en-US" sz="1200" dirty="0" err="1" smtClean="0">
                <a:solidFill>
                  <a:schemeClr val="accent3">
                    <a:lumMod val="50000"/>
                  </a:schemeClr>
                </a:solidFill>
              </a:rPr>
              <a:t>Apax</a:t>
            </a:r>
            <a:r>
              <a:rPr lang="en-US" sz="1200" dirty="0" smtClean="0">
                <a:solidFill>
                  <a:schemeClr val="accent3">
                    <a:lumMod val="50000"/>
                  </a:schemeClr>
                </a:solidFill>
              </a:rPr>
              <a:t> 88%</a:t>
            </a:r>
          </a:p>
          <a:p>
            <a:pPr marL="107950" indent="-96838" eaLnBrk="1" hangingPunct="1">
              <a:lnSpc>
                <a:spcPct val="90000"/>
              </a:lnSpc>
              <a:spcBef>
                <a:spcPts val="700"/>
              </a:spcBef>
            </a:pPr>
            <a:r>
              <a:rPr lang="en-US" sz="1200" dirty="0" smtClean="0">
                <a:solidFill>
                  <a:schemeClr val="accent3">
                    <a:lumMod val="50000"/>
                  </a:schemeClr>
                </a:solidFill>
              </a:rPr>
              <a:t>Listed on the Oslo Stock Exchange since 1997 </a:t>
            </a:r>
          </a:p>
          <a:p>
            <a:pPr marL="107950" indent="-96838" eaLnBrk="1" hangingPunct="1">
              <a:lnSpc>
                <a:spcPct val="80000"/>
              </a:lnSpc>
              <a:spcBef>
                <a:spcPts val="700"/>
              </a:spcBef>
              <a:buFont typeface="Arial" charset="0"/>
              <a:buNone/>
            </a:pPr>
            <a:endParaRPr lang="en-US" sz="1200" dirty="0" smtClean="0">
              <a:solidFill>
                <a:srgbClr val="716B68"/>
              </a:solidFill>
            </a:endParaRPr>
          </a:p>
        </p:txBody>
      </p:sp>
      <p:pic>
        <p:nvPicPr>
          <p:cNvPr id="81925" name="Bildobjekt 12" descr="kart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06426" y="1389062"/>
            <a:ext cx="3389312" cy="431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5" name="Rak 14"/>
          <p:cNvCxnSpPr/>
          <p:nvPr/>
        </p:nvCxnSpPr>
        <p:spPr>
          <a:xfrm>
            <a:off x="4356100" y="1700213"/>
            <a:ext cx="0" cy="3960812"/>
          </a:xfrm>
          <a:prstGeom prst="line">
            <a:avLst/>
          </a:prstGeom>
          <a:ln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Ellips 18"/>
          <p:cNvSpPr/>
          <p:nvPr/>
        </p:nvSpPr>
        <p:spPr>
          <a:xfrm flipV="1">
            <a:off x="2916238" y="5381625"/>
            <a:ext cx="142875" cy="144463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918A86"/>
              </a:solidFill>
            </a:endParaRPr>
          </a:p>
        </p:txBody>
      </p:sp>
      <p:sp>
        <p:nvSpPr>
          <p:cNvPr id="81928" name="textruta 19"/>
          <p:cNvSpPr txBox="1">
            <a:spLocks noChangeArrowheads="1"/>
          </p:cNvSpPr>
          <p:nvPr/>
        </p:nvSpPr>
        <p:spPr bwMode="auto">
          <a:xfrm>
            <a:off x="3059113" y="5291138"/>
            <a:ext cx="18732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40000"/>
              </a:lnSpc>
            </a:pPr>
            <a:r>
              <a:rPr lang="en-US" sz="1000" dirty="0" smtClean="0">
                <a:solidFill>
                  <a:srgbClr val="063954"/>
                </a:solidFill>
                <a:latin typeface="Arial Narrow" pitchFamily="34" charset="0"/>
                <a:ea typeface="ＭＳ Ｐゴシック"/>
                <a:cs typeface="Arial Narrow" pitchFamily="34" charset="0"/>
              </a:rPr>
              <a:t>100+ employees</a:t>
            </a:r>
            <a:endParaRPr lang="en-US" sz="1000" dirty="0">
              <a:solidFill>
                <a:srgbClr val="063954"/>
              </a:solidFill>
              <a:latin typeface="Arial Narrow" pitchFamily="34" charset="0"/>
              <a:ea typeface="ＭＳ Ｐゴシック"/>
              <a:cs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31218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with strong positions in the Nordic market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Unique posi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381000" y="6477000"/>
            <a:ext cx="2133600" cy="159370"/>
          </a:xfrm>
        </p:spPr>
        <p:txBody>
          <a:bodyPr/>
          <a:lstStyle/>
          <a:p>
            <a:fld id="{37B42EF7-4E00-47E5-BD04-2784F5E2F889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Half a year in industry</a:t>
            </a:r>
          </a:p>
        </p:txBody>
      </p:sp>
      <p:sp>
        <p:nvSpPr>
          <p:cNvPr id="7" name="TextBox 5"/>
          <p:cNvSpPr txBox="1">
            <a:spLocks noChangeArrowheads="1"/>
          </p:cNvSpPr>
          <p:nvPr/>
        </p:nvSpPr>
        <p:spPr bwMode="auto">
          <a:xfrm>
            <a:off x="2987824" y="1647671"/>
            <a:ext cx="3095426" cy="1277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63" indent="-182563" defTabSz="901700" eaLnBrk="0" hangingPunct="0">
              <a:lnSpc>
                <a:spcPct val="70000"/>
              </a:lnSpc>
              <a:spcBef>
                <a:spcPts val="600"/>
              </a:spcBef>
              <a:buClr>
                <a:srgbClr val="3C3C3B"/>
              </a:buClr>
              <a:buSzPct val="100000"/>
              <a:defRPr/>
            </a:pPr>
            <a:r>
              <a:rPr lang="en-US" b="1" dirty="0" smtClean="0">
                <a:solidFill>
                  <a:srgbClr val="91C349"/>
                </a:solidFill>
                <a:latin typeface="Arial Narrow" panose="020B0606020202030204" pitchFamily="34" charset="0"/>
                <a:cs typeface="Georgia"/>
              </a:rPr>
              <a:t># 1 Total market share 31%</a:t>
            </a:r>
          </a:p>
          <a:p>
            <a:pPr marL="182563" indent="-182563" defTabSz="901700" eaLnBrk="0" hangingPunct="0">
              <a:lnSpc>
                <a:spcPct val="70000"/>
              </a:lnSpc>
              <a:spcBef>
                <a:spcPts val="600"/>
              </a:spcBef>
              <a:buClr>
                <a:srgbClr val="3C3C3B"/>
              </a:buClr>
              <a:buSzPct val="100000"/>
              <a:defRPr/>
            </a:pPr>
            <a:r>
              <a:rPr lang="en-US" dirty="0" smtClean="0">
                <a:solidFill>
                  <a:srgbClr val="918A86">
                    <a:lumMod val="75000"/>
                  </a:srgbClr>
                </a:solidFill>
                <a:latin typeface="Arial Narrow" pitchFamily="34" charset="0"/>
                <a:cs typeface="Georgia"/>
              </a:rPr>
              <a:t># 1  Bank &amp; finance 56%</a:t>
            </a:r>
          </a:p>
          <a:p>
            <a:pPr marL="182563" indent="-182563" defTabSz="901700" eaLnBrk="0" hangingPunct="0">
              <a:lnSpc>
                <a:spcPct val="70000"/>
              </a:lnSpc>
              <a:spcBef>
                <a:spcPts val="600"/>
              </a:spcBef>
              <a:buClr>
                <a:srgbClr val="3C3C3B"/>
              </a:buClr>
              <a:buSzPct val="100000"/>
              <a:defRPr/>
            </a:pPr>
            <a:r>
              <a:rPr lang="en-US" dirty="0" smtClean="0">
                <a:solidFill>
                  <a:srgbClr val="918A86">
                    <a:lumMod val="75000"/>
                  </a:srgbClr>
                </a:solidFill>
                <a:latin typeface="Arial Narrow" pitchFamily="34" charset="0"/>
                <a:cs typeface="Georgia"/>
              </a:rPr>
              <a:t># 1  SME segment 22%</a:t>
            </a:r>
          </a:p>
          <a:p>
            <a:pPr marL="182563" indent="-182563" defTabSz="901700" eaLnBrk="0" hangingPunct="0">
              <a:lnSpc>
                <a:spcPct val="70000"/>
              </a:lnSpc>
              <a:spcBef>
                <a:spcPts val="600"/>
              </a:spcBef>
              <a:buClr>
                <a:srgbClr val="3C3C3B"/>
              </a:buClr>
              <a:buSzPct val="100000"/>
              <a:defRPr/>
            </a:pPr>
            <a:r>
              <a:rPr lang="en-US" dirty="0" smtClean="0">
                <a:solidFill>
                  <a:srgbClr val="918A86">
                    <a:lumMod val="75000"/>
                  </a:srgbClr>
                </a:solidFill>
                <a:latin typeface="Arial Narrow" pitchFamily="34" charset="0"/>
                <a:cs typeface="Georgia"/>
              </a:rPr>
              <a:t># 1  Outsourcing 37%</a:t>
            </a:r>
          </a:p>
          <a:p>
            <a:pPr marL="182563" indent="-182563" defTabSz="901700" eaLnBrk="0" hangingPunct="0">
              <a:lnSpc>
                <a:spcPct val="70000"/>
              </a:lnSpc>
              <a:spcBef>
                <a:spcPts val="600"/>
              </a:spcBef>
              <a:buClr>
                <a:srgbClr val="3C3C3B"/>
              </a:buClr>
              <a:buSzPct val="100000"/>
              <a:defRPr/>
            </a:pPr>
            <a:r>
              <a:rPr lang="en-US" dirty="0" smtClean="0">
                <a:solidFill>
                  <a:srgbClr val="918A86">
                    <a:lumMod val="75000"/>
                  </a:srgbClr>
                </a:solidFill>
                <a:latin typeface="Arial Narrow" pitchFamily="34" charset="0"/>
                <a:cs typeface="Georgia"/>
              </a:rPr>
              <a:t># 1  Consulting 20%</a:t>
            </a:r>
            <a:endParaRPr lang="en-US" dirty="0">
              <a:solidFill>
                <a:srgbClr val="918A86">
                  <a:lumMod val="75000"/>
                </a:srgbClr>
              </a:solidFill>
              <a:latin typeface="Arial Narrow" pitchFamily="34" charset="0"/>
              <a:cs typeface="Georgia"/>
            </a:endParaRPr>
          </a:p>
        </p:txBody>
      </p:sp>
      <p:cxnSp>
        <p:nvCxnSpPr>
          <p:cNvPr id="8" name="Rak 36"/>
          <p:cNvCxnSpPr/>
          <p:nvPr/>
        </p:nvCxnSpPr>
        <p:spPr>
          <a:xfrm>
            <a:off x="731130" y="3140968"/>
            <a:ext cx="5279986" cy="0"/>
          </a:xfrm>
          <a:prstGeom prst="line">
            <a:avLst/>
          </a:prstGeom>
          <a:ln w="635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5"/>
          <p:cNvSpPr txBox="1">
            <a:spLocks noChangeArrowheads="1"/>
          </p:cNvSpPr>
          <p:nvPr/>
        </p:nvSpPr>
        <p:spPr bwMode="auto">
          <a:xfrm>
            <a:off x="2987824" y="3356992"/>
            <a:ext cx="3095426" cy="1006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63" indent="-182563" defTabSz="901700" eaLnBrk="0" hangingPunct="0">
              <a:lnSpc>
                <a:spcPct val="70000"/>
              </a:lnSpc>
              <a:spcBef>
                <a:spcPts val="600"/>
              </a:spcBef>
              <a:buClr>
                <a:srgbClr val="3C3C3B"/>
              </a:buClr>
              <a:buSzPct val="100000"/>
              <a:defRPr/>
            </a:pPr>
            <a:r>
              <a:rPr lang="en-US" b="1" dirty="0" smtClean="0">
                <a:solidFill>
                  <a:srgbClr val="704D8C"/>
                </a:solidFill>
                <a:latin typeface="Arial Narrow" panose="020B0606020202030204" pitchFamily="34" charset="0"/>
                <a:cs typeface="Georgia"/>
              </a:rPr>
              <a:t># 4 Total market share 7.5%</a:t>
            </a:r>
          </a:p>
          <a:p>
            <a:pPr marL="182563" indent="-182563" defTabSz="901700" eaLnBrk="0" hangingPunct="0">
              <a:lnSpc>
                <a:spcPct val="70000"/>
              </a:lnSpc>
              <a:spcBef>
                <a:spcPts val="600"/>
              </a:spcBef>
              <a:buClr>
                <a:srgbClr val="3C3C3B"/>
              </a:buClr>
              <a:buSzPct val="100000"/>
              <a:defRPr/>
            </a:pPr>
            <a:r>
              <a:rPr lang="en-US" dirty="0" smtClean="0">
                <a:solidFill>
                  <a:srgbClr val="918A86">
                    <a:lumMod val="75000"/>
                  </a:srgbClr>
                </a:solidFill>
                <a:latin typeface="Arial Narrow" pitchFamily="34" charset="0"/>
                <a:cs typeface="Georgia"/>
              </a:rPr>
              <a:t># 1  SME segment 17%</a:t>
            </a:r>
          </a:p>
          <a:p>
            <a:pPr marL="182563" indent="-182563" defTabSz="901700" eaLnBrk="0" hangingPunct="0">
              <a:lnSpc>
                <a:spcPct val="70000"/>
              </a:lnSpc>
              <a:spcBef>
                <a:spcPts val="600"/>
              </a:spcBef>
              <a:buClr>
                <a:srgbClr val="3C3C3B"/>
              </a:buClr>
              <a:buSzPct val="100000"/>
              <a:defRPr/>
            </a:pPr>
            <a:r>
              <a:rPr lang="en-US" dirty="0" smtClean="0">
                <a:solidFill>
                  <a:srgbClr val="918A86">
                    <a:lumMod val="75000"/>
                  </a:srgbClr>
                </a:solidFill>
                <a:latin typeface="Arial Narrow" pitchFamily="34" charset="0"/>
                <a:cs typeface="Georgia"/>
              </a:rPr>
              <a:t># 5  Outsourcing 6%</a:t>
            </a:r>
          </a:p>
          <a:p>
            <a:pPr marL="182563" indent="-182563" defTabSz="901700" eaLnBrk="0" hangingPunct="0">
              <a:lnSpc>
                <a:spcPct val="70000"/>
              </a:lnSpc>
              <a:spcBef>
                <a:spcPts val="600"/>
              </a:spcBef>
              <a:buClr>
                <a:srgbClr val="3C3C3B"/>
              </a:buClr>
              <a:buSzPct val="100000"/>
              <a:defRPr/>
            </a:pPr>
            <a:r>
              <a:rPr lang="en-US" dirty="0" smtClean="0">
                <a:solidFill>
                  <a:srgbClr val="918A86">
                    <a:lumMod val="75000"/>
                  </a:srgbClr>
                </a:solidFill>
                <a:latin typeface="Arial Narrow" pitchFamily="34" charset="0"/>
                <a:cs typeface="Georgia"/>
              </a:rPr>
              <a:t># 3  Consulting 7.5%</a:t>
            </a:r>
            <a:endParaRPr lang="en-US" dirty="0">
              <a:solidFill>
                <a:srgbClr val="918A86">
                  <a:lumMod val="75000"/>
                </a:srgbClr>
              </a:solidFill>
              <a:latin typeface="Arial Narrow" pitchFamily="34" charset="0"/>
              <a:cs typeface="Georgia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0137" y="1557942"/>
            <a:ext cx="1181342" cy="151101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9520" y="3284984"/>
            <a:ext cx="1182240" cy="1512168"/>
          </a:xfrm>
          <a:prstGeom prst="rect">
            <a:avLst/>
          </a:prstGeom>
        </p:spPr>
      </p:pic>
      <p:sp>
        <p:nvSpPr>
          <p:cNvPr id="12" name="TextBox 5"/>
          <p:cNvSpPr txBox="1">
            <a:spLocks noChangeArrowheads="1"/>
          </p:cNvSpPr>
          <p:nvPr/>
        </p:nvSpPr>
        <p:spPr bwMode="auto">
          <a:xfrm>
            <a:off x="2987824" y="5123933"/>
            <a:ext cx="2735386" cy="520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63" indent="-182563" defTabSz="901700" eaLnBrk="0" hangingPunct="0">
              <a:lnSpc>
                <a:spcPct val="70000"/>
              </a:lnSpc>
              <a:spcBef>
                <a:spcPts val="600"/>
              </a:spcBef>
              <a:buClr>
                <a:srgbClr val="3C3C3B"/>
              </a:buClr>
              <a:buSzPct val="100000"/>
              <a:defRPr/>
            </a:pPr>
            <a:r>
              <a:rPr lang="en-US" sz="1400" b="1" dirty="0" smtClean="0">
                <a:solidFill>
                  <a:srgbClr val="063954">
                    <a:lumMod val="50000"/>
                    <a:lumOff val="50000"/>
                  </a:srgbClr>
                </a:solidFill>
                <a:latin typeface="Arial Narrow" panose="020B0606020202030204" pitchFamily="34" charset="0"/>
                <a:cs typeface="Georgia"/>
              </a:rPr>
              <a:t>Finland: </a:t>
            </a:r>
            <a:r>
              <a:rPr lang="en-US" sz="1400" dirty="0" smtClean="0">
                <a:solidFill>
                  <a:srgbClr val="918A86">
                    <a:lumMod val="50000"/>
                  </a:srgbClr>
                </a:solidFill>
                <a:latin typeface="Arial Narrow" pitchFamily="34" charset="0"/>
                <a:cs typeface="Georgia"/>
              </a:rPr>
              <a:t>FS and SME-focus</a:t>
            </a:r>
          </a:p>
          <a:p>
            <a:pPr marL="182563" indent="-182563" defTabSz="901700" eaLnBrk="0" hangingPunct="0">
              <a:lnSpc>
                <a:spcPct val="70000"/>
              </a:lnSpc>
              <a:spcBef>
                <a:spcPts val="600"/>
              </a:spcBef>
              <a:buClr>
                <a:srgbClr val="3C3C3B"/>
              </a:buClr>
              <a:buSzPct val="100000"/>
              <a:defRPr/>
            </a:pPr>
            <a:endParaRPr lang="en-US" sz="600" dirty="0" smtClean="0">
              <a:solidFill>
                <a:srgbClr val="918A86">
                  <a:lumMod val="50000"/>
                </a:srgbClr>
              </a:solidFill>
              <a:latin typeface="Arial Narrow" panose="020B0606020202030204" pitchFamily="34" charset="0"/>
              <a:cs typeface="Georgia"/>
            </a:endParaRPr>
          </a:p>
          <a:p>
            <a:pPr marL="182563" indent="-182563" defTabSz="901700" eaLnBrk="0" hangingPunct="0">
              <a:lnSpc>
                <a:spcPct val="70000"/>
              </a:lnSpc>
              <a:spcBef>
                <a:spcPts val="600"/>
              </a:spcBef>
              <a:buClr>
                <a:srgbClr val="3C3C3B"/>
              </a:buClr>
              <a:buSzPct val="100000"/>
              <a:defRPr/>
            </a:pPr>
            <a:r>
              <a:rPr lang="en-US" sz="1400" b="1" dirty="0" smtClean="0">
                <a:solidFill>
                  <a:srgbClr val="0D7CB6"/>
                </a:solidFill>
                <a:latin typeface="Arial Narrow" panose="020B0606020202030204" pitchFamily="34" charset="0"/>
                <a:cs typeface="Georgia"/>
              </a:rPr>
              <a:t>Denmark: </a:t>
            </a:r>
            <a:r>
              <a:rPr lang="en-US" sz="1400" dirty="0" smtClean="0">
                <a:solidFill>
                  <a:srgbClr val="918A86">
                    <a:lumMod val="50000"/>
                  </a:srgbClr>
                </a:solidFill>
                <a:latin typeface="Arial Narrow" pitchFamily="34" charset="0"/>
                <a:cs typeface="Georgia"/>
              </a:rPr>
              <a:t>FS-focus</a:t>
            </a:r>
            <a:endParaRPr lang="en-US" sz="1400" dirty="0">
              <a:solidFill>
                <a:srgbClr val="918A86">
                  <a:lumMod val="50000"/>
                </a:srgbClr>
              </a:solidFill>
              <a:latin typeface="Arial Narrow" pitchFamily="34" charset="0"/>
              <a:cs typeface="Georgia"/>
            </a:endParaRPr>
          </a:p>
        </p:txBody>
      </p:sp>
      <p:cxnSp>
        <p:nvCxnSpPr>
          <p:cNvPr id="13" name="Rak 26"/>
          <p:cNvCxnSpPr/>
          <p:nvPr/>
        </p:nvCxnSpPr>
        <p:spPr>
          <a:xfrm>
            <a:off x="731130" y="4887266"/>
            <a:ext cx="5271318" cy="19712"/>
          </a:xfrm>
          <a:prstGeom prst="line">
            <a:avLst/>
          </a:prstGeom>
          <a:ln w="635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1365" y="5013176"/>
            <a:ext cx="671046" cy="857448"/>
          </a:xfrm>
          <a:prstGeom prst="rect">
            <a:avLst/>
          </a:prstGeom>
        </p:spPr>
      </p:pic>
      <p:cxnSp>
        <p:nvCxnSpPr>
          <p:cNvPr id="15" name="Rak 26"/>
          <p:cNvCxnSpPr/>
          <p:nvPr/>
        </p:nvCxnSpPr>
        <p:spPr>
          <a:xfrm flipV="1">
            <a:off x="6228184" y="1557338"/>
            <a:ext cx="0" cy="4264040"/>
          </a:xfrm>
          <a:prstGeom prst="line">
            <a:avLst/>
          </a:prstGeom>
          <a:ln w="635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2" descr="https://encrypted-tbn3.gstatic.com/images?q=tbn:ANd9GcTn755oYH5fNbvGpv3E2kkIVcjqr4jTzPS5AlBq3XlahSLx405PG2fMeaJz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0363" y="3174329"/>
            <a:ext cx="1143172" cy="1143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62270" y="2070055"/>
            <a:ext cx="1141631" cy="678701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91152" y="4975353"/>
            <a:ext cx="902580" cy="613887"/>
          </a:xfrm>
          <a:prstGeom prst="rect">
            <a:avLst/>
          </a:prstGeom>
        </p:spPr>
      </p:pic>
      <p:sp>
        <p:nvSpPr>
          <p:cNvPr id="19" name="TextBox 5"/>
          <p:cNvSpPr txBox="1">
            <a:spLocks noChangeArrowheads="1"/>
          </p:cNvSpPr>
          <p:nvPr/>
        </p:nvSpPr>
        <p:spPr bwMode="auto">
          <a:xfrm>
            <a:off x="6589142" y="2881450"/>
            <a:ext cx="2735386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63" indent="-182563" defTabSz="901700" eaLnBrk="0" hangingPunct="0">
              <a:lnSpc>
                <a:spcPct val="70000"/>
              </a:lnSpc>
              <a:spcBef>
                <a:spcPts val="600"/>
              </a:spcBef>
              <a:buClr>
                <a:srgbClr val="3C3C3B"/>
              </a:buClr>
              <a:buSzPct val="100000"/>
              <a:defRPr/>
            </a:pPr>
            <a:r>
              <a:rPr lang="en-US" sz="1000" b="1" dirty="0" smtClean="0">
                <a:solidFill>
                  <a:srgbClr val="063954"/>
                </a:solidFill>
                <a:latin typeface="Arial Narrow" panose="020B0606020202030204" pitchFamily="34" charset="0"/>
                <a:cs typeface="Georgia"/>
              </a:rPr>
              <a:t>Latvia: </a:t>
            </a:r>
            <a:r>
              <a:rPr lang="en-US" sz="1000" dirty="0" err="1" smtClean="0">
                <a:solidFill>
                  <a:srgbClr val="063954"/>
                </a:solidFill>
                <a:latin typeface="Arial Narrow" panose="020B0606020202030204" pitchFamily="34" charset="0"/>
                <a:cs typeface="Georgia"/>
              </a:rPr>
              <a:t>Nearshore</a:t>
            </a:r>
            <a:r>
              <a:rPr lang="en-US" sz="1000" dirty="0" smtClean="0">
                <a:solidFill>
                  <a:srgbClr val="063954"/>
                </a:solidFill>
                <a:latin typeface="Arial Narrow" panose="020B0606020202030204" pitchFamily="34" charset="0"/>
                <a:cs typeface="Georgia"/>
              </a:rPr>
              <a:t> Help Desk</a:t>
            </a:r>
            <a:endParaRPr lang="en-US" sz="1000" dirty="0">
              <a:solidFill>
                <a:srgbClr val="063954"/>
              </a:solidFill>
              <a:latin typeface="Arial Narrow" panose="020B0606020202030204" pitchFamily="34" charset="0"/>
              <a:cs typeface="Georgia"/>
            </a:endParaRPr>
          </a:p>
        </p:txBody>
      </p:sp>
      <p:sp>
        <p:nvSpPr>
          <p:cNvPr id="20" name="TextBox 5"/>
          <p:cNvSpPr txBox="1">
            <a:spLocks noChangeArrowheads="1"/>
          </p:cNvSpPr>
          <p:nvPr/>
        </p:nvSpPr>
        <p:spPr bwMode="auto">
          <a:xfrm>
            <a:off x="6551669" y="4408722"/>
            <a:ext cx="2735386" cy="109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63" indent="-182563" defTabSz="901700" eaLnBrk="0" hangingPunct="0">
              <a:lnSpc>
                <a:spcPct val="70000"/>
              </a:lnSpc>
              <a:spcBef>
                <a:spcPts val="600"/>
              </a:spcBef>
              <a:buClr>
                <a:srgbClr val="3C3C3B"/>
              </a:buClr>
              <a:buSzPct val="100000"/>
              <a:defRPr/>
            </a:pPr>
            <a:r>
              <a:rPr lang="en-US" sz="1000" b="1" dirty="0" smtClean="0">
                <a:solidFill>
                  <a:srgbClr val="063954"/>
                </a:solidFill>
                <a:latin typeface="Arial Narrow" panose="020B0606020202030204" pitchFamily="34" charset="0"/>
                <a:cs typeface="Georgia"/>
              </a:rPr>
              <a:t>India: </a:t>
            </a:r>
            <a:r>
              <a:rPr lang="en-US" sz="1000" dirty="0" smtClean="0">
                <a:solidFill>
                  <a:srgbClr val="063954"/>
                </a:solidFill>
                <a:latin typeface="Arial Narrow" panose="020B0606020202030204" pitchFamily="34" charset="0"/>
                <a:cs typeface="Georgia"/>
              </a:rPr>
              <a:t>Offshore Operations &amp; AD/AM</a:t>
            </a:r>
            <a:endParaRPr lang="en-US" sz="1000" dirty="0">
              <a:solidFill>
                <a:srgbClr val="063954"/>
              </a:solidFill>
              <a:latin typeface="Arial Narrow" panose="020B0606020202030204" pitchFamily="34" charset="0"/>
              <a:cs typeface="Georgia"/>
            </a:endParaRPr>
          </a:p>
        </p:txBody>
      </p:sp>
      <p:sp>
        <p:nvSpPr>
          <p:cNvPr id="21" name="TextBox 5"/>
          <p:cNvSpPr txBox="1">
            <a:spLocks noChangeArrowheads="1"/>
          </p:cNvSpPr>
          <p:nvPr/>
        </p:nvSpPr>
        <p:spPr bwMode="auto">
          <a:xfrm>
            <a:off x="6546652" y="5649424"/>
            <a:ext cx="2735386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63" indent="-182563" defTabSz="901700" eaLnBrk="0" hangingPunct="0">
              <a:lnSpc>
                <a:spcPct val="70000"/>
              </a:lnSpc>
              <a:spcBef>
                <a:spcPts val="600"/>
              </a:spcBef>
              <a:buClr>
                <a:srgbClr val="3C3C3B"/>
              </a:buClr>
              <a:buSzPct val="100000"/>
              <a:defRPr/>
            </a:pPr>
            <a:r>
              <a:rPr lang="en-US" sz="1000" b="1" dirty="0" smtClean="0">
                <a:solidFill>
                  <a:srgbClr val="063954"/>
                </a:solidFill>
                <a:latin typeface="Arial Narrow" panose="020B0606020202030204" pitchFamily="34" charset="0"/>
                <a:cs typeface="Georgia"/>
              </a:rPr>
              <a:t>Ukraine: </a:t>
            </a:r>
            <a:r>
              <a:rPr lang="en-US" sz="1000" dirty="0" smtClean="0">
                <a:solidFill>
                  <a:srgbClr val="063954"/>
                </a:solidFill>
                <a:latin typeface="Arial Narrow" panose="020B0606020202030204" pitchFamily="34" charset="0"/>
                <a:cs typeface="Georgia"/>
              </a:rPr>
              <a:t>Offshore AD/AM</a:t>
            </a:r>
            <a:endParaRPr lang="en-US" sz="1000" dirty="0">
              <a:solidFill>
                <a:srgbClr val="063954"/>
              </a:solidFill>
              <a:latin typeface="Arial Narrow" panose="020B0606020202030204" pitchFamily="34" charset="0"/>
              <a:cs typeface="Georgia"/>
            </a:endParaRPr>
          </a:p>
        </p:txBody>
      </p:sp>
      <p:sp>
        <p:nvSpPr>
          <p:cNvPr id="22" name="TextBox 5"/>
          <p:cNvSpPr txBox="1">
            <a:spLocks noChangeArrowheads="1"/>
          </p:cNvSpPr>
          <p:nvPr/>
        </p:nvSpPr>
        <p:spPr bwMode="auto">
          <a:xfrm>
            <a:off x="6551669" y="1647671"/>
            <a:ext cx="1944142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63" indent="-182563" defTabSz="901700" eaLnBrk="0" hangingPunct="0">
              <a:lnSpc>
                <a:spcPct val="70000"/>
              </a:lnSpc>
              <a:spcBef>
                <a:spcPts val="600"/>
              </a:spcBef>
              <a:buClr>
                <a:srgbClr val="3C3C3B"/>
              </a:buClr>
              <a:buSzPct val="100000"/>
              <a:defRPr/>
            </a:pPr>
            <a:r>
              <a:rPr lang="en-US" b="1" dirty="0" smtClean="0">
                <a:solidFill>
                  <a:srgbClr val="063954"/>
                </a:solidFill>
                <a:latin typeface="Arial Narrow" panose="020B0606020202030204" pitchFamily="34" charset="0"/>
                <a:cs typeface="Georgia"/>
              </a:rPr>
              <a:t>Global sourcing</a:t>
            </a:r>
            <a:endParaRPr lang="en-US" dirty="0">
              <a:solidFill>
                <a:srgbClr val="063954"/>
              </a:solidFill>
              <a:latin typeface="Arial Narrow" panose="020B0606020202030204" pitchFamily="34" charset="0"/>
              <a:cs typeface="Georgia"/>
            </a:endParaRPr>
          </a:p>
        </p:txBody>
      </p:sp>
      <p:sp>
        <p:nvSpPr>
          <p:cNvPr id="23" name="TextBox 5"/>
          <p:cNvSpPr txBox="1">
            <a:spLocks noChangeArrowheads="1"/>
          </p:cNvSpPr>
          <p:nvPr/>
        </p:nvSpPr>
        <p:spPr bwMode="auto">
          <a:xfrm>
            <a:off x="731130" y="1647671"/>
            <a:ext cx="1944142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63" indent="-182563" defTabSz="901700" eaLnBrk="0" hangingPunct="0">
              <a:lnSpc>
                <a:spcPct val="70000"/>
              </a:lnSpc>
              <a:spcBef>
                <a:spcPts val="600"/>
              </a:spcBef>
              <a:buClr>
                <a:srgbClr val="3C3C3B"/>
              </a:buClr>
              <a:buSzPct val="100000"/>
              <a:defRPr/>
            </a:pPr>
            <a:r>
              <a:rPr lang="en-US" b="1" dirty="0" smtClean="0">
                <a:solidFill>
                  <a:srgbClr val="91C349"/>
                </a:solidFill>
                <a:latin typeface="Arial Narrow" panose="020B0606020202030204" pitchFamily="34" charset="0"/>
                <a:cs typeface="Georgia"/>
              </a:rPr>
              <a:t>Norway</a:t>
            </a:r>
            <a:endParaRPr lang="en-US" dirty="0">
              <a:solidFill>
                <a:srgbClr val="91C349"/>
              </a:solidFill>
              <a:latin typeface="Arial Narrow" panose="020B0606020202030204" pitchFamily="34" charset="0"/>
              <a:cs typeface="Georgia"/>
            </a:endParaRPr>
          </a:p>
        </p:txBody>
      </p:sp>
      <p:sp>
        <p:nvSpPr>
          <p:cNvPr id="25" name="TextBox 5"/>
          <p:cNvSpPr txBox="1">
            <a:spLocks noChangeArrowheads="1"/>
          </p:cNvSpPr>
          <p:nvPr/>
        </p:nvSpPr>
        <p:spPr bwMode="auto">
          <a:xfrm>
            <a:off x="755576" y="3356992"/>
            <a:ext cx="1944142" cy="196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63" indent="-182563" defTabSz="901700" eaLnBrk="0" hangingPunct="0">
              <a:lnSpc>
                <a:spcPct val="70000"/>
              </a:lnSpc>
              <a:spcBef>
                <a:spcPts val="600"/>
              </a:spcBef>
              <a:buClr>
                <a:srgbClr val="3C3C3B"/>
              </a:buClr>
              <a:buSzPct val="100000"/>
              <a:defRPr/>
            </a:pPr>
            <a:r>
              <a:rPr lang="en-US" b="1" dirty="0" smtClean="0">
                <a:solidFill>
                  <a:srgbClr val="704D8C"/>
                </a:solidFill>
                <a:latin typeface="Arial Narrow" panose="020B0606020202030204" pitchFamily="34" charset="0"/>
                <a:cs typeface="Georgia"/>
              </a:rPr>
              <a:t>Sweden</a:t>
            </a:r>
            <a:endParaRPr lang="en-US" dirty="0">
              <a:solidFill>
                <a:srgbClr val="704D8C"/>
              </a:solidFill>
              <a:latin typeface="Arial Narrow" panose="020B0606020202030204" pitchFamily="34" charset="0"/>
              <a:cs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061492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B42EF7-4E00-47E5-BD04-2784F5E2F889}" type="slidenum">
              <a:rPr lang="en-US" noProof="0" smtClean="0"/>
              <a:pPr/>
              <a:t>18</a:t>
            </a:fld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Half a year in industry</a:t>
            </a:r>
          </a:p>
          <a:p>
            <a:endParaRPr lang="en-US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graphical location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 descr="campaign2013_sign_20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" t="19051" r="-267" b="11329"/>
          <a:stretch/>
        </p:blipFill>
        <p:spPr>
          <a:xfrm>
            <a:off x="2273300" y="1208888"/>
            <a:ext cx="4573470" cy="4774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1405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B42EF7-4E00-47E5-BD04-2784F5E2F889}" type="slidenum">
              <a:rPr lang="en-US" noProof="0" smtClean="0"/>
              <a:pPr/>
              <a:t>19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Half a year in industry</a:t>
            </a:r>
          </a:p>
          <a:p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side </a:t>
            </a:r>
            <a:r>
              <a:rPr lang="en-US" dirty="0" smtClean="0"/>
              <a:t>EVRY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1964138990"/>
              </p:ext>
            </p:extLst>
          </p:nvPr>
        </p:nvGraphicFramePr>
        <p:xfrm>
          <a:off x="838200" y="1417718"/>
          <a:ext cx="7543800" cy="44496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425345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953125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B42EF7-4E00-47E5-BD04-2784F5E2F889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282073">
            <a:off x="2389704" y="1250934"/>
            <a:ext cx="2538902" cy="119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Plassholder for innhold 2"/>
          <p:cNvSpPr txBox="1">
            <a:spLocks/>
          </p:cNvSpPr>
          <p:nvPr/>
        </p:nvSpPr>
        <p:spPr>
          <a:xfrm>
            <a:off x="2699792" y="2438400"/>
            <a:ext cx="4320480" cy="2070721"/>
          </a:xfrm>
          <a:prstGeom prst="rect">
            <a:avLst/>
          </a:prstGeom>
        </p:spPr>
        <p:txBody>
          <a:bodyPr/>
          <a:lstStyle>
            <a:lvl1pPr marL="180975" indent="-180975" algn="l" defTabSz="914400" rtl="0" eaLnBrk="1" latinLnBrk="0" hangingPunct="1">
              <a:spcBef>
                <a:spcPts val="1300"/>
              </a:spcBef>
              <a:buClr>
                <a:srgbClr val="5E5D5C"/>
              </a:buClr>
              <a:buFont typeface="Arial" pitchFamily="34" charset="0"/>
              <a:buChar char="•"/>
              <a:defRPr sz="1800" kern="1200">
                <a:solidFill>
                  <a:srgbClr val="5E5D5C"/>
                </a:solidFill>
                <a:latin typeface="Georgia" pitchFamily="18" charset="0"/>
                <a:ea typeface="+mn-ea"/>
                <a:cs typeface="+mn-cs"/>
              </a:defRPr>
            </a:lvl1pPr>
            <a:lvl2pPr marL="361950" indent="-180975" algn="l" defTabSz="919163" rtl="0" eaLnBrk="1" latinLnBrk="0" hangingPunct="1">
              <a:spcBef>
                <a:spcPts val="600"/>
              </a:spcBef>
              <a:buClr>
                <a:srgbClr val="5E5D5C"/>
              </a:buClr>
              <a:buSzPct val="80000"/>
              <a:buFont typeface="Courier New" pitchFamily="49" charset="0"/>
              <a:buChar char="o"/>
              <a:defRPr sz="1400" kern="1200">
                <a:solidFill>
                  <a:srgbClr val="5E5D5C"/>
                </a:solidFill>
                <a:latin typeface="Georgia" pitchFamily="18" charset="0"/>
                <a:ea typeface="+mn-ea"/>
                <a:cs typeface="+mn-cs"/>
              </a:defRPr>
            </a:lvl2pPr>
            <a:lvl3pPr marL="542925" indent="-180975" algn="l" defTabSz="914400" rtl="0" eaLnBrk="1" latinLnBrk="0" hangingPunct="1">
              <a:spcBef>
                <a:spcPts val="600"/>
              </a:spcBef>
              <a:buClr>
                <a:srgbClr val="5E5D5C"/>
              </a:buClr>
              <a:buFont typeface="Georgia" pitchFamily="18" charset="0"/>
              <a:buChar char="-"/>
              <a:defRPr sz="1400" kern="1200">
                <a:solidFill>
                  <a:srgbClr val="5E5D5C"/>
                </a:solidFill>
                <a:latin typeface="Georgia" pitchFamily="18" charset="0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spcBef>
                <a:spcPts val="600"/>
              </a:spcBef>
              <a:buClr>
                <a:srgbClr val="5E5D5C"/>
              </a:buClr>
              <a:buFont typeface="Georgia" pitchFamily="18" charset="0"/>
              <a:buChar char="-"/>
              <a:defRPr sz="1400" kern="1200">
                <a:solidFill>
                  <a:srgbClr val="5E5D5C"/>
                </a:solidFill>
                <a:latin typeface="Georgia" pitchFamily="18" charset="0"/>
                <a:ea typeface="+mn-ea"/>
                <a:cs typeface="+mn-cs"/>
              </a:defRPr>
            </a:lvl4pPr>
            <a:lvl5pPr marL="895350" indent="-180975" algn="l" defTabSz="914400" rtl="0" eaLnBrk="1" latinLnBrk="0" hangingPunct="1">
              <a:spcBef>
                <a:spcPts val="600"/>
              </a:spcBef>
              <a:buClr>
                <a:srgbClr val="5E5D5C"/>
              </a:buClr>
              <a:buFont typeface="Georgia" pitchFamily="18" charset="0"/>
              <a:buChar char="-"/>
              <a:defRPr sz="1400" kern="1200">
                <a:solidFill>
                  <a:srgbClr val="5E5D5C"/>
                </a:solidFill>
                <a:latin typeface="Georgia" pitchFamily="18" charset="0"/>
                <a:ea typeface="+mn-ea"/>
                <a:cs typeface="+mn-cs"/>
              </a:defRPr>
            </a:lvl5pPr>
            <a:lvl6pPr marL="2062163" indent="-182563" algn="l" defTabSz="914400" rtl="0" eaLnBrk="1" latinLnBrk="0" hangingPunct="1">
              <a:spcBef>
                <a:spcPts val="600"/>
              </a:spcBef>
              <a:buClr>
                <a:srgbClr val="5E5D5C"/>
              </a:buClr>
              <a:buFont typeface="Georgia" pitchFamily="18" charset="0"/>
              <a:buChar char="-"/>
              <a:defRPr sz="1400" kern="1200">
                <a:solidFill>
                  <a:srgbClr val="5E5D5C"/>
                </a:solidFill>
                <a:latin typeface="Georgia" pitchFamily="18" charset="0"/>
                <a:ea typeface="+mn-ea"/>
                <a:cs typeface="+mn-cs"/>
              </a:defRPr>
            </a:lvl6pPr>
            <a:lvl7pPr marL="2252663" indent="-190500" algn="l" defTabSz="914400" rtl="0" eaLnBrk="1" latinLnBrk="0" hangingPunct="1">
              <a:spcBef>
                <a:spcPts val="600"/>
              </a:spcBef>
              <a:buClr>
                <a:srgbClr val="5E5D5C"/>
              </a:buClr>
              <a:buFont typeface="Georgia" pitchFamily="18" charset="0"/>
              <a:buChar char="-"/>
              <a:defRPr sz="1400" kern="1200">
                <a:solidFill>
                  <a:srgbClr val="5E5D5C"/>
                </a:solidFill>
                <a:latin typeface="Georgia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 smtClean="0">
                <a:solidFill>
                  <a:schemeClr val="accent3">
                    <a:lumMod val="50000"/>
                  </a:schemeClr>
                </a:solidFill>
              </a:rPr>
              <a:t>Pre-graduation</a:t>
            </a:r>
          </a:p>
          <a:p>
            <a:r>
              <a:rPr lang="en-US" sz="2000" dirty="0" smtClean="0">
                <a:solidFill>
                  <a:schemeClr val="accent3">
                    <a:lumMod val="50000"/>
                  </a:schemeClr>
                </a:solidFill>
              </a:rPr>
              <a:t>Graduation</a:t>
            </a:r>
            <a:endParaRPr lang="en-US" sz="2000" dirty="0">
              <a:solidFill>
                <a:schemeClr val="accent3">
                  <a:lumMod val="50000"/>
                </a:schemeClr>
              </a:solidFill>
            </a:endParaRPr>
          </a:p>
          <a:p>
            <a:r>
              <a:rPr lang="en-US" sz="2000" dirty="0" smtClean="0"/>
              <a:t>Post-graduation</a:t>
            </a:r>
          </a:p>
          <a:p>
            <a:r>
              <a:rPr lang="en-US" sz="2000" dirty="0" smtClean="0"/>
              <a:t>Half a year in industry</a:t>
            </a:r>
          </a:p>
        </p:txBody>
      </p:sp>
    </p:spTree>
    <p:extLst>
      <p:ext uri="{BB962C8B-B14F-4D97-AF65-F5344CB8AC3E}">
        <p14:creationId xmlns:p14="http://schemas.microsoft.com/office/powerpoint/2010/main" val="1715571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29799109"/>
              </p:ext>
            </p:extLst>
          </p:nvPr>
        </p:nvGraphicFramePr>
        <p:xfrm>
          <a:off x="752400" y="1555200"/>
          <a:ext cx="3474000" cy="424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B42EF7-4E00-47E5-BD04-2784F5E2F889}" type="slidenum">
              <a:rPr lang="en-US" noProof="0" smtClean="0"/>
              <a:pPr/>
              <a:t>20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Half a year in industry</a:t>
            </a:r>
          </a:p>
          <a:p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non-functional testing (NFT)?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9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55071317"/>
              </p:ext>
            </p:extLst>
          </p:nvPr>
        </p:nvGraphicFramePr>
        <p:xfrm>
          <a:off x="4800600" y="1524000"/>
          <a:ext cx="3474000" cy="424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3664906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ontent Placeholder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9898174"/>
              </p:ext>
            </p:extLst>
          </p:nvPr>
        </p:nvGraphicFramePr>
        <p:xfrm>
          <a:off x="752400" y="1555200"/>
          <a:ext cx="7629600" cy="424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B42EF7-4E00-47E5-BD04-2784F5E2F889}" type="slidenum">
              <a:rPr lang="en-US" noProof="0" smtClean="0"/>
              <a:pPr/>
              <a:t>21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Half a year in industry</a:t>
            </a:r>
          </a:p>
          <a:p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curity: Application layer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6237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752400" y="1752600"/>
            <a:ext cx="7629600" cy="4050600"/>
          </a:xfrm>
        </p:spPr>
        <p:txBody>
          <a:bodyPr/>
          <a:lstStyle/>
          <a:p>
            <a:r>
              <a:rPr lang="en-US" sz="2400" dirty="0" smtClean="0"/>
              <a:t>PCI DSS Requirement 11.2 and 11.3</a:t>
            </a:r>
          </a:p>
          <a:p>
            <a:pPr lvl="1"/>
            <a:r>
              <a:rPr lang="en-US" sz="1800" dirty="0"/>
              <a:t>Perform external penetration </a:t>
            </a:r>
            <a:r>
              <a:rPr lang="en-US" sz="1800" dirty="0" smtClean="0"/>
              <a:t>testing</a:t>
            </a:r>
          </a:p>
          <a:p>
            <a:pPr lvl="1"/>
            <a:r>
              <a:rPr lang="en-US" sz="1800" dirty="0"/>
              <a:t>Perform internal penetration </a:t>
            </a:r>
            <a:r>
              <a:rPr lang="en-US" sz="1800" dirty="0" smtClean="0"/>
              <a:t>testing</a:t>
            </a:r>
          </a:p>
          <a:p>
            <a:pPr lvl="1"/>
            <a:r>
              <a:rPr lang="en-US" sz="1800" dirty="0" smtClean="0"/>
              <a:t>Verify </a:t>
            </a:r>
            <a:r>
              <a:rPr lang="en-US" sz="1800" dirty="0"/>
              <a:t>that the segmentation methods are operational and effective, and isolate all out-of-scope systems from systems in the CDE</a:t>
            </a:r>
          </a:p>
          <a:p>
            <a:r>
              <a:rPr lang="en-US" sz="2400" dirty="0" smtClean="0"/>
              <a:t>Methodologies</a:t>
            </a:r>
          </a:p>
          <a:p>
            <a:pPr lvl="1"/>
            <a:r>
              <a:rPr lang="en-US" sz="1800" dirty="0" smtClean="0"/>
              <a:t>PCI DSS Penetration </a:t>
            </a:r>
            <a:r>
              <a:rPr lang="en-US" sz="1800" dirty="0"/>
              <a:t>Testing </a:t>
            </a:r>
            <a:r>
              <a:rPr lang="en-US" sz="1800" dirty="0" smtClean="0"/>
              <a:t>Guidance</a:t>
            </a:r>
            <a:endParaRPr lang="en-US" sz="1800" dirty="0"/>
          </a:p>
          <a:p>
            <a:pPr lvl="1"/>
            <a:r>
              <a:rPr lang="en-US" sz="1800" dirty="0"/>
              <a:t>NIST Special Publication 800-</a:t>
            </a:r>
            <a:r>
              <a:rPr lang="en-US" sz="1800" dirty="0" smtClean="0"/>
              <a:t>115</a:t>
            </a:r>
          </a:p>
          <a:p>
            <a:pPr lvl="1"/>
            <a:r>
              <a:rPr lang="en-US" sz="1800" dirty="0" smtClean="0"/>
              <a:t>Open </a:t>
            </a:r>
            <a:r>
              <a:rPr lang="en-US" sz="1800" dirty="0"/>
              <a:t>Source Security Testing Methodology Manual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B42EF7-4E00-47E5-BD04-2784F5E2F889}" type="slidenum">
              <a:rPr lang="en-US" noProof="0" smtClean="0"/>
              <a:pPr/>
              <a:t>22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Half a year in industry</a:t>
            </a:r>
          </a:p>
          <a:p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curity: </a:t>
            </a:r>
            <a:r>
              <a:rPr lang="en-US" dirty="0"/>
              <a:t>Network lay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76004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" dur="indefinite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mph" presetSubtype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set>
                                      <p:cBhvr rctx="PPT">
                                        <p:cTn id="9" dur="indefinite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0" dur="indefinite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mph" presetSubtype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set>
                                      <p:cBhvr rctx="PPT">
                                        <p:cTn id="12" dur="indefinite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3" dur="indefinite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mph" presetSubtype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set>
                                      <p:cBhvr rctx="PPT">
                                        <p:cTn id="15" dur="indefinite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6" dur="indefinite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0" dur="indefinite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1" dur="indefinite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3" dur="indefinite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4" dur="indefinite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6" dur="indefinite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7" dur="indefinite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9" dur="indefinite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30" dur="indefinite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752400" y="1555200"/>
            <a:ext cx="7629600" cy="4248000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B42EF7-4E00-47E5-BD04-2784F5E2F889}" type="slidenum">
              <a:rPr lang="en-US" noProof="0" smtClean="0"/>
              <a:pPr/>
              <a:t>23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Half a year in industry</a:t>
            </a:r>
          </a:p>
          <a:p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85800" y="33446"/>
            <a:ext cx="7616899" cy="547200"/>
          </a:xfrm>
        </p:spPr>
        <p:txBody>
          <a:bodyPr/>
          <a:lstStyle/>
          <a:p>
            <a:r>
              <a:rPr lang="en-US" dirty="0" smtClean="0"/>
              <a:t>Security: Wireless</a:t>
            </a:r>
            <a:endParaRPr lang="en-US" dirty="0"/>
          </a:p>
        </p:txBody>
      </p:sp>
      <p:pic>
        <p:nvPicPr>
          <p:cNvPr id="9" name="Picture 8" descr="Screen Shot 2015-10-12 at 20.46.37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19" y="533400"/>
            <a:ext cx="8991600" cy="5556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9665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000" dirty="0" smtClean="0"/>
          </a:p>
          <a:p>
            <a:r>
              <a:rPr lang="en-US" sz="2000" dirty="0" smtClean="0"/>
              <a:t>Enchantment of procedures and methodologies</a:t>
            </a:r>
          </a:p>
          <a:p>
            <a:r>
              <a:rPr lang="en-US" sz="2000" dirty="0" smtClean="0"/>
              <a:t>Self-education and sharing experience </a:t>
            </a:r>
          </a:p>
          <a:p>
            <a:r>
              <a:rPr lang="en-US" sz="2000" dirty="0"/>
              <a:t>Meetings and co-</a:t>
            </a:r>
            <a:r>
              <a:rPr lang="en-US" sz="2000" dirty="0" smtClean="0"/>
              <a:t>operations</a:t>
            </a:r>
          </a:p>
          <a:p>
            <a:r>
              <a:rPr lang="en-US" sz="2000" dirty="0" smtClean="0"/>
              <a:t>Installation, configuration and maintenance of auxiliary too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B42EF7-4E00-47E5-BD04-2784F5E2F889}" type="slidenum">
              <a:rPr lang="en-US" noProof="0" smtClean="0"/>
              <a:pPr/>
              <a:t>24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Half a year in industry</a:t>
            </a:r>
          </a:p>
          <a:p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n top of that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6" descr="people_lr_073.jpg"/>
          <p:cNvPicPr>
            <a:picLocks noGrp="1" noChangeAspect="1"/>
          </p:cNvPicPr>
          <p:nvPr>
            <p:ph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25" t="1" r="18641" b="-1"/>
          <a:stretch/>
        </p:blipFill>
        <p:spPr>
          <a:xfrm>
            <a:off x="4899024" y="1555750"/>
            <a:ext cx="3863975" cy="4248150"/>
          </a:xfrm>
        </p:spPr>
      </p:pic>
      <p:pic>
        <p:nvPicPr>
          <p:cNvPr id="16" name="Content Placeholder 5" descr="people_lr_128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667" t="536" r="13935" b="1"/>
          <a:stretch/>
        </p:blipFill>
        <p:spPr>
          <a:xfrm>
            <a:off x="4891561" y="1560286"/>
            <a:ext cx="3867513" cy="4307114"/>
          </a:xfrm>
          <a:prstGeom prst="rect">
            <a:avLst/>
          </a:prstGeom>
        </p:spPr>
      </p:pic>
      <p:pic>
        <p:nvPicPr>
          <p:cNvPr id="9" name="Content Placeholder 2" descr="objects_lr_072.jp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288" t="11532" r="17251" b="13923"/>
          <a:stretch/>
        </p:blipFill>
        <p:spPr>
          <a:xfrm>
            <a:off x="4891050" y="1521553"/>
            <a:ext cx="3890732" cy="4376043"/>
          </a:xfrm>
          <a:prstGeom prst="rect">
            <a:avLst/>
          </a:prstGeom>
        </p:spPr>
      </p:pic>
      <p:pic>
        <p:nvPicPr>
          <p:cNvPr id="13" name="Picture 12" descr="Working_with_EVRY_069.jp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3" t="534" r="35226" b="6280"/>
          <a:stretch/>
        </p:blipFill>
        <p:spPr>
          <a:xfrm>
            <a:off x="4882553" y="1528795"/>
            <a:ext cx="3896179" cy="4302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7580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32" b="8641"/>
          <a:stretch/>
        </p:blipFill>
        <p:spPr>
          <a:xfrm>
            <a:off x="6925438" y="2871329"/>
            <a:ext cx="1463516" cy="1273654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79" t="19610" r="24989" b="25077"/>
          <a:stretch/>
        </p:blipFill>
        <p:spPr>
          <a:xfrm>
            <a:off x="6925438" y="4179490"/>
            <a:ext cx="1462912" cy="1273656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95" r="22304"/>
          <a:stretch/>
        </p:blipFill>
        <p:spPr bwMode="auto">
          <a:xfrm>
            <a:off x="5431250" y="2871329"/>
            <a:ext cx="1462987" cy="12736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B42EF7-4E00-47E5-BD04-2784F5E2F889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Half a year in industry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part of everyday life for millions of Nordic citizen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Unique position</a:t>
            </a:r>
            <a:endParaRPr lang="en-US" dirty="0"/>
          </a:p>
        </p:txBody>
      </p:sp>
      <p:pic>
        <p:nvPicPr>
          <p:cNvPr id="9" name="Picture 40" descr="strømprisen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29764" y="1556790"/>
            <a:ext cx="1465959" cy="1273655"/>
          </a:xfrm>
          <a:prstGeom prst="rect">
            <a:avLst/>
          </a:prstGeom>
          <a:noFill/>
        </p:spPr>
      </p:pic>
      <p:pic>
        <p:nvPicPr>
          <p:cNvPr id="10" name="Picture 37" descr="Postpakke brukbart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38753" y="1556790"/>
            <a:ext cx="1463702" cy="1273797"/>
          </a:xfrm>
          <a:prstGeom prst="rect">
            <a:avLst/>
          </a:prstGeom>
          <a:noFill/>
        </p:spPr>
      </p:pic>
      <p:pic>
        <p:nvPicPr>
          <p:cNvPr id="14" name="Picture 2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25437" y="1556790"/>
            <a:ext cx="1462987" cy="1274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"/>
          <p:cNvPicPr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38753" y="2871329"/>
            <a:ext cx="1462987" cy="1273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380"/>
          <a:stretch/>
        </p:blipFill>
        <p:spPr>
          <a:xfrm>
            <a:off x="5425652" y="4179490"/>
            <a:ext cx="1468585" cy="1274400"/>
          </a:xfrm>
          <a:prstGeom prst="rect">
            <a:avLst/>
          </a:prstGeom>
        </p:spPr>
      </p:pic>
      <p:sp>
        <p:nvSpPr>
          <p:cNvPr id="20" name="Content Placeholder 19"/>
          <p:cNvSpPr>
            <a:spLocks noGrp="1"/>
          </p:cNvSpPr>
          <p:nvPr>
            <p:ph idx="1"/>
          </p:nvPr>
        </p:nvSpPr>
        <p:spPr>
          <a:xfrm>
            <a:off x="752400" y="1557264"/>
            <a:ext cx="3474000" cy="4248000"/>
          </a:xfrm>
        </p:spPr>
        <p:txBody>
          <a:bodyPr/>
          <a:lstStyle/>
          <a:p>
            <a:pPr marL="0" indent="0">
              <a:spcBef>
                <a:spcPts val="600"/>
              </a:spcBef>
              <a:buNone/>
            </a:pPr>
            <a:r>
              <a:rPr lang="en-US" b="1" dirty="0">
                <a:solidFill>
                  <a:schemeClr val="accent4"/>
                </a:solidFill>
                <a:latin typeface="Arial Narrow" pitchFamily="34" charset="0"/>
              </a:rPr>
              <a:t>When </a:t>
            </a:r>
            <a:r>
              <a:rPr lang="en-US" b="1" dirty="0" smtClean="0">
                <a:solidFill>
                  <a:schemeClr val="accent4"/>
                </a:solidFill>
                <a:latin typeface="Arial Narrow" pitchFamily="34" charset="0"/>
              </a:rPr>
              <a:t>you</a:t>
            </a:r>
            <a:endParaRPr lang="en-US" b="1" dirty="0">
              <a:solidFill>
                <a:schemeClr val="accent4"/>
              </a:solidFill>
              <a:latin typeface="Arial Narrow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300" dirty="0"/>
              <a:t>receive a package notification </a:t>
            </a:r>
            <a:br>
              <a:rPr lang="en-US" sz="1300" dirty="0"/>
            </a:br>
            <a:r>
              <a:rPr lang="en-US" sz="1300" dirty="0"/>
              <a:t>via SMS from the Post</a:t>
            </a:r>
          </a:p>
          <a:p>
            <a:pPr>
              <a:spcBef>
                <a:spcPts val="600"/>
              </a:spcBef>
            </a:pPr>
            <a:r>
              <a:rPr lang="en-US" sz="1300" dirty="0"/>
              <a:t>withdraw cash from an ATM in </a:t>
            </a:r>
            <a:br>
              <a:rPr lang="en-US" sz="1300" dirty="0"/>
            </a:br>
            <a:r>
              <a:rPr lang="en-US" sz="1300" dirty="0"/>
              <a:t>Norway or Sweden</a:t>
            </a:r>
          </a:p>
          <a:p>
            <a:pPr>
              <a:spcBef>
                <a:spcPts val="600"/>
              </a:spcBef>
            </a:pPr>
            <a:r>
              <a:rPr lang="en-US" sz="1300" dirty="0"/>
              <a:t>are being credit evaluated</a:t>
            </a:r>
          </a:p>
          <a:p>
            <a:pPr>
              <a:spcBef>
                <a:spcPts val="600"/>
              </a:spcBef>
            </a:pPr>
            <a:r>
              <a:rPr lang="en-US" sz="1300" dirty="0"/>
              <a:t>receive the tax assessment from </a:t>
            </a:r>
            <a:br>
              <a:rPr lang="en-US" sz="1300" dirty="0"/>
            </a:br>
            <a:r>
              <a:rPr lang="en-US" sz="1300" dirty="0"/>
              <a:t>the Norwegian tax authority</a:t>
            </a:r>
          </a:p>
          <a:p>
            <a:pPr>
              <a:spcBef>
                <a:spcPts val="600"/>
              </a:spcBef>
            </a:pPr>
            <a:r>
              <a:rPr lang="en-US" sz="1300" dirty="0"/>
              <a:t>pass a toll road station</a:t>
            </a:r>
          </a:p>
          <a:p>
            <a:pPr>
              <a:spcBef>
                <a:spcPts val="600"/>
              </a:spcBef>
            </a:pPr>
            <a:r>
              <a:rPr lang="en-US" sz="1300" dirty="0"/>
              <a:t>do a lookup in the national </a:t>
            </a:r>
            <a:br>
              <a:rPr lang="en-US" sz="1300" dirty="0"/>
            </a:br>
            <a:r>
              <a:rPr lang="en-US" sz="1300" dirty="0"/>
              <a:t>register of motor vehicles</a:t>
            </a:r>
          </a:p>
          <a:p>
            <a:pPr>
              <a:spcBef>
                <a:spcPts val="600"/>
              </a:spcBef>
            </a:pPr>
            <a:r>
              <a:rPr lang="en-US" sz="1300" dirty="0"/>
              <a:t>use your credit card or mobile </a:t>
            </a:r>
            <a:br>
              <a:rPr lang="en-US" sz="1300" dirty="0"/>
            </a:br>
            <a:r>
              <a:rPr lang="en-US" sz="1300" dirty="0"/>
              <a:t>banking services</a:t>
            </a:r>
          </a:p>
          <a:p>
            <a:pPr>
              <a:spcBef>
                <a:spcPts val="600"/>
              </a:spcBef>
            </a:pPr>
            <a:r>
              <a:rPr lang="en-US" sz="1300" dirty="0"/>
              <a:t>pick up an e-prescription at </a:t>
            </a:r>
            <a:br>
              <a:rPr lang="en-US" sz="1300" dirty="0"/>
            </a:br>
            <a:r>
              <a:rPr lang="en-US" sz="1300" dirty="0"/>
              <a:t>an Norwegian pharmacy</a:t>
            </a:r>
          </a:p>
          <a:p>
            <a:pPr>
              <a:spcBef>
                <a:spcPts val="600"/>
              </a:spcBef>
            </a:pPr>
            <a:r>
              <a:rPr lang="en-US" sz="1300" dirty="0"/>
              <a:t>buy a ticket with the Swedish railways</a:t>
            </a:r>
          </a:p>
        </p:txBody>
      </p:sp>
      <p:pic>
        <p:nvPicPr>
          <p:cNvPr id="18" name="Content Placeholder 17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4" t="5893" r="8364" b="26650"/>
          <a:stretch/>
        </p:blipFill>
        <p:spPr>
          <a:xfrm>
            <a:off x="3938753" y="4179490"/>
            <a:ext cx="1462988" cy="127365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09059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0"/>
          </p:nvPr>
        </p:nvSpPr>
        <p:spPr>
          <a:xfrm>
            <a:off x="860400" y="2397600"/>
            <a:ext cx="7585200" cy="1183800"/>
          </a:xfrm>
        </p:spPr>
        <p:txBody>
          <a:bodyPr/>
          <a:lstStyle/>
          <a:p>
            <a:pPr algn="ctr"/>
            <a:r>
              <a:rPr lang="en-US" sz="4200" dirty="0" smtClean="0">
                <a:solidFill>
                  <a:schemeClr val="accent4"/>
                </a:solidFill>
              </a:rPr>
              <a:t>“Whatever you do, do it well.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B42EF7-4E00-47E5-BD04-2784F5E2F889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Our corporate story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6248400" y="3200400"/>
            <a:ext cx="24084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err="1" smtClean="0">
                <a:solidFill>
                  <a:srgbClr val="00B6DE"/>
                </a:solidFill>
              </a:rPr>
              <a:t>Pittacus</a:t>
            </a:r>
            <a:r>
              <a:rPr lang="en-US" sz="2000" dirty="0" smtClean="0">
                <a:solidFill>
                  <a:srgbClr val="00B6DE"/>
                </a:solidFill>
              </a:rPr>
              <a:t> </a:t>
            </a:r>
            <a:r>
              <a:rPr lang="en-US" sz="2000" dirty="0">
                <a:solidFill>
                  <a:srgbClr val="00B6DE"/>
                </a:solidFill>
              </a:rPr>
              <a:t>of </a:t>
            </a:r>
            <a:r>
              <a:rPr lang="en-US" sz="2000" dirty="0" err="1">
                <a:solidFill>
                  <a:srgbClr val="00B6DE"/>
                </a:solidFill>
              </a:rPr>
              <a:t>Mytilene</a:t>
            </a:r>
            <a:endParaRPr lang="en-US" sz="2000" dirty="0">
              <a:solidFill>
                <a:srgbClr val="00B6D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1937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29625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B42EF7-4E00-47E5-BD04-2784F5E2F889}" type="slidenum">
              <a:rPr lang="en-US" noProof="0" smtClean="0"/>
              <a:pPr/>
              <a:t>3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Pre-gradu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lin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3" name="Diagram 12"/>
          <p:cNvGraphicFramePr/>
          <p:nvPr>
            <p:extLst>
              <p:ext uri="{D42A27DB-BD31-4B8C-83A1-F6EECF244321}">
                <p14:modId xmlns:p14="http://schemas.microsoft.com/office/powerpoint/2010/main" val="791643259"/>
              </p:ext>
            </p:extLst>
          </p:nvPr>
        </p:nvGraphicFramePr>
        <p:xfrm>
          <a:off x="494694" y="2665792"/>
          <a:ext cx="2133600" cy="1041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123914273"/>
              </p:ext>
            </p:extLst>
          </p:nvPr>
        </p:nvGraphicFramePr>
        <p:xfrm>
          <a:off x="2550884" y="2658534"/>
          <a:ext cx="2133600" cy="1041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2941570973"/>
              </p:ext>
            </p:extLst>
          </p:nvPr>
        </p:nvGraphicFramePr>
        <p:xfrm>
          <a:off x="4576837" y="2658534"/>
          <a:ext cx="2133600" cy="1041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16" name="Diagram 15"/>
          <p:cNvGraphicFramePr/>
          <p:nvPr>
            <p:extLst>
              <p:ext uri="{D42A27DB-BD31-4B8C-83A1-F6EECF244321}">
                <p14:modId xmlns:p14="http://schemas.microsoft.com/office/powerpoint/2010/main" val="1288350099"/>
              </p:ext>
            </p:extLst>
          </p:nvPr>
        </p:nvGraphicFramePr>
        <p:xfrm>
          <a:off x="6629400" y="2667000"/>
          <a:ext cx="2133600" cy="1041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</p:spTree>
    <p:extLst>
      <p:ext uri="{BB962C8B-B14F-4D97-AF65-F5344CB8AC3E}">
        <p14:creationId xmlns:p14="http://schemas.microsoft.com/office/powerpoint/2010/main" val="13964182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6" presetClass="emp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2000" fill="hold"/>
                                        <p:tgtEl>
                                          <p:spTgt spid="1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 L 0.25 0  E" pathEditMode="relative" ptsTypes="">
                                      <p:cBhvr>
                                        <p:cTn id="14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>
        <p:bldAsOne/>
      </p:bldGraphic>
      <p:bldGraphic spid="13" grpId="1">
        <p:bldAsOne/>
      </p:bldGraphic>
      <p:bldGraphic spid="10" grpId="0">
        <p:bldAsOne/>
      </p:bldGraphic>
      <p:bldGraphic spid="15" grpId="0">
        <p:bldAsOne/>
      </p:bldGraphic>
      <p:bldGraphic spid="16" grpId="0">
        <p:bldAsOne/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59547102"/>
              </p:ext>
            </p:extLst>
          </p:nvPr>
        </p:nvGraphicFramePr>
        <p:xfrm>
          <a:off x="752475" y="1555750"/>
          <a:ext cx="7629525" cy="4248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B42EF7-4E00-47E5-BD04-2784F5E2F889}" type="slidenum">
              <a:rPr lang="en-US" noProof="0" smtClean="0"/>
              <a:pPr/>
              <a:t>4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dirty="0" smtClean="0"/>
              <a:t>Pre-graduation</a:t>
            </a:r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end of artic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4346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0"/>
          </p:nvPr>
        </p:nvSpPr>
        <p:spPr>
          <a:xfrm>
            <a:off x="381000" y="1295400"/>
            <a:ext cx="8382000" cy="3733800"/>
          </a:xfrm>
        </p:spPr>
        <p:txBody>
          <a:bodyPr/>
          <a:lstStyle/>
          <a:p>
            <a:pPr algn="just"/>
            <a:r>
              <a:rPr lang="en-US" sz="3400" dirty="0" smtClean="0"/>
              <a:t>“Scientific </a:t>
            </a:r>
            <a:r>
              <a:rPr lang="en-US" sz="3400" dirty="0"/>
              <a:t>work </a:t>
            </a:r>
            <a:r>
              <a:rPr lang="en-US" sz="3400" dirty="0" smtClean="0"/>
              <a:t>is </a:t>
            </a:r>
            <a:r>
              <a:rPr lang="en-US" sz="3400" dirty="0"/>
              <a:t>not </a:t>
            </a:r>
            <a:r>
              <a:rPr lang="en-US" sz="3400" dirty="0" smtClean="0"/>
              <a:t>an 8</a:t>
            </a:r>
            <a:r>
              <a:rPr lang="en-US" sz="3400" dirty="0"/>
              <a:t>-hour workday. This is </a:t>
            </a:r>
            <a:r>
              <a:rPr lang="en-US" sz="3400" dirty="0" smtClean="0"/>
              <a:t>thinking </a:t>
            </a:r>
            <a:r>
              <a:rPr lang="en-US" sz="3400" dirty="0"/>
              <a:t>24/</a:t>
            </a:r>
            <a:r>
              <a:rPr lang="en-US" sz="3400" dirty="0" smtClean="0"/>
              <a:t>7 on </a:t>
            </a:r>
            <a:r>
              <a:rPr lang="en-US" sz="3400" dirty="0"/>
              <a:t>the </a:t>
            </a:r>
            <a:r>
              <a:rPr lang="en-US" sz="3400" dirty="0" smtClean="0"/>
              <a:t>problem, </a:t>
            </a:r>
            <a:r>
              <a:rPr lang="en-US" sz="3400" dirty="0"/>
              <a:t>the solution of </a:t>
            </a:r>
            <a:r>
              <a:rPr lang="en-US" sz="3400" dirty="0" smtClean="0"/>
              <a:t>which no </a:t>
            </a:r>
            <a:r>
              <a:rPr lang="en-US" sz="3400" dirty="0"/>
              <a:t>one has yet </a:t>
            </a:r>
            <a:r>
              <a:rPr lang="en-US" sz="3400" dirty="0" smtClean="0"/>
              <a:t>found. </a:t>
            </a:r>
            <a:r>
              <a:rPr lang="en-US" sz="3400" dirty="0"/>
              <a:t>And </a:t>
            </a:r>
            <a:r>
              <a:rPr lang="en-US" sz="3400" dirty="0" smtClean="0"/>
              <a:t>you are </a:t>
            </a:r>
            <a:r>
              <a:rPr lang="en-US" sz="3400" dirty="0"/>
              <a:t>the one who can solve it </a:t>
            </a:r>
            <a:r>
              <a:rPr lang="en-US" sz="3400" dirty="0" smtClean="0"/>
              <a:t>while been on </a:t>
            </a:r>
            <a:r>
              <a:rPr lang="en-US" sz="3400" dirty="0"/>
              <a:t>a train, walking down the street, running in </a:t>
            </a:r>
            <a:r>
              <a:rPr lang="en-US" sz="3400" dirty="0" smtClean="0"/>
              <a:t>gym, </a:t>
            </a:r>
            <a:r>
              <a:rPr lang="en-US" sz="3400" dirty="0"/>
              <a:t>telling </a:t>
            </a:r>
            <a:r>
              <a:rPr lang="en-US" sz="3400" dirty="0" smtClean="0"/>
              <a:t>an interesting </a:t>
            </a:r>
            <a:r>
              <a:rPr lang="en-US" sz="3400" dirty="0"/>
              <a:t>story to friends, or </a:t>
            </a:r>
            <a:r>
              <a:rPr lang="en-US" sz="3400" dirty="0" smtClean="0"/>
              <a:t>sitting                   </a:t>
            </a:r>
            <a:r>
              <a:rPr lang="is-IS" sz="3400" dirty="0" smtClean="0"/>
              <a:t>  </a:t>
            </a:r>
            <a:r>
              <a:rPr lang="en-US" sz="3400" dirty="0" smtClean="0"/>
              <a:t>”</a:t>
            </a:r>
            <a:endParaRPr lang="en-US" sz="3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B42EF7-4E00-47E5-BD04-2784F5E2F889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Pre-</a:t>
            </a:r>
            <a:r>
              <a:rPr lang="en-US" dirty="0" smtClean="0"/>
              <a:t>graduatio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733800" y="4343400"/>
            <a:ext cx="228600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400" dirty="0" smtClean="0">
                <a:solidFill>
                  <a:srgbClr val="91C349"/>
                </a:solidFill>
                <a:latin typeface="Georgia"/>
                <a:cs typeface="Georgia"/>
              </a:rPr>
              <a:t>in a garage</a:t>
            </a:r>
            <a:endParaRPr lang="en-US" sz="3400" dirty="0">
              <a:solidFill>
                <a:srgbClr val="91C349"/>
              </a:solidFill>
              <a:latin typeface="Georgia"/>
              <a:cs typeface="Georgia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733800" y="4343400"/>
            <a:ext cx="228600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s-IS" sz="3400" dirty="0" smtClean="0">
                <a:solidFill>
                  <a:srgbClr val="91C349"/>
                </a:solidFill>
                <a:latin typeface="Georgia"/>
                <a:cs typeface="Georgia"/>
              </a:rPr>
              <a:t>_______</a:t>
            </a:r>
            <a:endParaRPr lang="en-US" sz="3400" dirty="0">
              <a:solidFill>
                <a:srgbClr val="91C349"/>
              </a:solidFill>
              <a:latin typeface="Georgia"/>
              <a:cs typeface="Georgia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953000" y="5105400"/>
            <a:ext cx="339925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dirty="0" smtClean="0">
                <a:solidFill>
                  <a:srgbClr val="00B6DE"/>
                </a:solidFill>
              </a:rPr>
              <a:t>Dean </a:t>
            </a:r>
            <a:r>
              <a:rPr lang="en-US" sz="2200" dirty="0">
                <a:solidFill>
                  <a:srgbClr val="00B6DE"/>
                </a:solidFill>
              </a:rPr>
              <a:t>of </a:t>
            </a:r>
            <a:r>
              <a:rPr lang="en-US" sz="2200" dirty="0" smtClean="0">
                <a:solidFill>
                  <a:srgbClr val="00B6DE"/>
                </a:solidFill>
              </a:rPr>
              <a:t>Science, </a:t>
            </a:r>
            <a:r>
              <a:rPr lang="en-US" sz="2200" dirty="0">
                <a:solidFill>
                  <a:srgbClr val="00B6DE"/>
                </a:solidFill>
              </a:rPr>
              <a:t>KNURE</a:t>
            </a:r>
          </a:p>
        </p:txBody>
      </p:sp>
    </p:spTree>
    <p:extLst>
      <p:ext uri="{BB962C8B-B14F-4D97-AF65-F5344CB8AC3E}">
        <p14:creationId xmlns:p14="http://schemas.microsoft.com/office/powerpoint/2010/main" val="32669471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8" grpId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B42EF7-4E00-47E5-BD04-2784F5E2F889}" type="slidenum">
              <a:rPr lang="en-US" noProof="0" smtClean="0"/>
              <a:pPr/>
              <a:t>6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Pre-graduation</a:t>
            </a:r>
          </a:p>
          <a:p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nograph </a:t>
            </a:r>
            <a:r>
              <a:rPr lang="en-US" dirty="0" err="1" smtClean="0"/>
              <a:t>vs</a:t>
            </a:r>
            <a:r>
              <a:rPr lang="en-US" dirty="0"/>
              <a:t> </a:t>
            </a:r>
            <a:r>
              <a:rPr lang="en-US" dirty="0" smtClean="0"/>
              <a:t>Compilation Thesis</a:t>
            </a:r>
            <a:r>
              <a:rPr lang="en-US" dirty="0"/>
              <a:t>?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3" name="Diagram 12"/>
          <p:cNvGraphicFramePr/>
          <p:nvPr>
            <p:extLst>
              <p:ext uri="{D42A27DB-BD31-4B8C-83A1-F6EECF244321}">
                <p14:modId xmlns:p14="http://schemas.microsoft.com/office/powerpoint/2010/main" val="3559584960"/>
              </p:ext>
            </p:extLst>
          </p:nvPr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5693259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BF6CC8F9-0306-154F-8928-A0B3B23CB4B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73F3935C-653E-F346-B3CF-A43D50A5F8B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D7F17147-C621-3B41-869A-7C2E6EB0FAC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D7B54F87-CD3C-AF4A-8CA7-F5B738AD9E8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622FFE15-F7EF-8C4F-9566-74ACFD939D4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97D44A32-6ECA-FE40-AB33-F43708581B9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80E2D590-7FC1-0C44-83B5-4CFCC5E9C1B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EEADC8A9-A71A-384C-9776-F67F0EE61F3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>
        <p:bldSub>
          <a:bldDgm bld="lvlOne"/>
        </p:bldSub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B42EF7-4E00-47E5-BD04-2784F5E2F889}" type="slidenum">
              <a:rPr lang="en-US" noProof="0" smtClean="0"/>
              <a:pPr/>
              <a:t>7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Pre-graduation</a:t>
            </a:r>
          </a:p>
          <a:p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Comparison of </a:t>
            </a:r>
            <a:r>
              <a:rPr lang="en-US" sz="2800" dirty="0" smtClean="0"/>
              <a:t>thesis submission </a:t>
            </a:r>
            <a:r>
              <a:rPr lang="en-US" sz="2800" dirty="0"/>
              <a:t>in Ukraine and Norway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9" descr="objects_02.jpg"/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3" r="2383"/>
          <a:stretch/>
        </p:blipFill>
        <p:spPr>
          <a:xfrm>
            <a:off x="752400" y="1555200"/>
            <a:ext cx="3474000" cy="4248000"/>
          </a:xfrm>
        </p:spPr>
      </p:pic>
      <p:pic>
        <p:nvPicPr>
          <p:cNvPr id="9" name="Content Placeholder 7" descr="Documents_Man_MI.JPG"/>
          <p:cNvPicPr>
            <a:picLocks noGrp="1" noChangeAspect="1"/>
          </p:cNvPicPr>
          <p:nvPr>
            <p:ph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22" r="23522"/>
          <a:stretch/>
        </p:blipFill>
        <p:spPr>
          <a:xfrm>
            <a:off x="4899676" y="1555200"/>
            <a:ext cx="3474000" cy="4248000"/>
          </a:xfrm>
        </p:spPr>
      </p:pic>
      <p:pic>
        <p:nvPicPr>
          <p:cNvPr id="10" name="Content Placeholder 2" descr="objects_lr_052.jp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0" t="2924" r="-1927" b="987"/>
          <a:stretch/>
        </p:blipFill>
        <p:spPr>
          <a:xfrm>
            <a:off x="1481619" y="2767761"/>
            <a:ext cx="1857904" cy="2288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3149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on&amp;dont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7800" y="0"/>
            <a:ext cx="6324600" cy="5779027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B42EF7-4E00-47E5-BD04-2784F5E2F889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Pre-graduation</a:t>
            </a:r>
          </a:p>
          <a:p>
            <a:endParaRPr lang="en-US" dirty="0"/>
          </a:p>
        </p:txBody>
      </p:sp>
      <p:pic>
        <p:nvPicPr>
          <p:cNvPr id="2" name="Picture 1" descr="do's&amp;don'ts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9305">
            <a:off x="2937737" y="2116579"/>
            <a:ext cx="2728548" cy="2176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1998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0"/>
          </p:nvPr>
        </p:nvSpPr>
        <p:spPr>
          <a:xfrm>
            <a:off x="381000" y="1905000"/>
            <a:ext cx="8686800" cy="3096000"/>
          </a:xfrm>
        </p:spPr>
        <p:txBody>
          <a:bodyPr/>
          <a:lstStyle/>
          <a:p>
            <a:endParaRPr lang="en-US" sz="4200" dirty="0" smtClean="0"/>
          </a:p>
          <a:p>
            <a:r>
              <a:rPr lang="en-US" sz="4200" dirty="0" smtClean="0"/>
              <a:t>Defense </a:t>
            </a:r>
            <a:r>
              <a:rPr lang="en-US" sz="4200" dirty="0"/>
              <a:t>is your 45 minutes of </a:t>
            </a:r>
            <a:r>
              <a:rPr lang="en-US" sz="4200" dirty="0" smtClean="0"/>
              <a:t>glory!</a:t>
            </a:r>
            <a:endParaRPr lang="en-US" sz="4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B42EF7-4E00-47E5-BD04-2784F5E2F889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Pre-</a:t>
            </a:r>
            <a:r>
              <a:rPr lang="en-US" dirty="0" smtClean="0"/>
              <a:t>gradu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3334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RY_template_normal">
  <a:themeElements>
    <a:clrScheme name="EDB PowerPoint PPT NY">
      <a:dk1>
        <a:srgbClr val="063954"/>
      </a:dk1>
      <a:lt1>
        <a:srgbClr val="FFFFFF"/>
      </a:lt1>
      <a:dk2>
        <a:srgbClr val="063954"/>
      </a:dk2>
      <a:lt2>
        <a:srgbClr val="EEEDEB"/>
      </a:lt2>
      <a:accent1>
        <a:srgbClr val="00ADD3"/>
      </a:accent1>
      <a:accent2>
        <a:srgbClr val="ACE0ED"/>
      </a:accent2>
      <a:accent3>
        <a:srgbClr val="DBD9D8"/>
      </a:accent3>
      <a:accent4>
        <a:srgbClr val="91C349"/>
      </a:accent4>
      <a:accent5>
        <a:srgbClr val="918A86"/>
      </a:accent5>
      <a:accent6>
        <a:srgbClr val="704D8C"/>
      </a:accent6>
      <a:hlink>
        <a:srgbClr val="00ADD3"/>
      </a:hlink>
      <a:folHlink>
        <a:srgbClr val="ACE0ED"/>
      </a:folHlink>
    </a:clrScheme>
    <a:fontScheme name="EDB Ergo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accent5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Graphics">
  <a:themeElements>
    <a:clrScheme name="EDB PowerPoint PPT NY">
      <a:dk1>
        <a:srgbClr val="063954"/>
      </a:dk1>
      <a:lt1>
        <a:srgbClr val="FFFFFF"/>
      </a:lt1>
      <a:dk2>
        <a:srgbClr val="063954"/>
      </a:dk2>
      <a:lt2>
        <a:srgbClr val="EEEDEB"/>
      </a:lt2>
      <a:accent1>
        <a:srgbClr val="00ADD3"/>
      </a:accent1>
      <a:accent2>
        <a:srgbClr val="ACE0ED"/>
      </a:accent2>
      <a:accent3>
        <a:srgbClr val="DBD9D8"/>
      </a:accent3>
      <a:accent4>
        <a:srgbClr val="91C349"/>
      </a:accent4>
      <a:accent5>
        <a:srgbClr val="918A86"/>
      </a:accent5>
      <a:accent6>
        <a:srgbClr val="704D8C"/>
      </a:accent6>
      <a:hlink>
        <a:srgbClr val="00ADD3"/>
      </a:hlink>
      <a:folHlink>
        <a:srgbClr val="ACE0ED"/>
      </a:folHlink>
    </a:clrScheme>
    <a:fontScheme name="EDB Ergo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accent5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Chapter">
  <a:themeElements>
    <a:clrScheme name="EDB PowerPoint PPT NY">
      <a:dk1>
        <a:srgbClr val="063954"/>
      </a:dk1>
      <a:lt1>
        <a:srgbClr val="FFFFFF"/>
      </a:lt1>
      <a:dk2>
        <a:srgbClr val="063954"/>
      </a:dk2>
      <a:lt2>
        <a:srgbClr val="EEEDEB"/>
      </a:lt2>
      <a:accent1>
        <a:srgbClr val="00ADD3"/>
      </a:accent1>
      <a:accent2>
        <a:srgbClr val="ACE0ED"/>
      </a:accent2>
      <a:accent3>
        <a:srgbClr val="DBD9D8"/>
      </a:accent3>
      <a:accent4>
        <a:srgbClr val="91C349"/>
      </a:accent4>
      <a:accent5>
        <a:srgbClr val="918A86"/>
      </a:accent5>
      <a:accent6>
        <a:srgbClr val="704D8C"/>
      </a:accent6>
      <a:hlink>
        <a:srgbClr val="00ADD3"/>
      </a:hlink>
      <a:folHlink>
        <a:srgbClr val="ACE0ED"/>
      </a:folHlink>
    </a:clrScheme>
    <a:fontScheme name="EDB Ergo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accent5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Reporting">
  <a:themeElements>
    <a:clrScheme name="EDB PowerPoint PPT NY">
      <a:dk1>
        <a:srgbClr val="063954"/>
      </a:dk1>
      <a:lt1>
        <a:srgbClr val="FFFFFF"/>
      </a:lt1>
      <a:dk2>
        <a:srgbClr val="063954"/>
      </a:dk2>
      <a:lt2>
        <a:srgbClr val="EEEDEB"/>
      </a:lt2>
      <a:accent1>
        <a:srgbClr val="00ADD3"/>
      </a:accent1>
      <a:accent2>
        <a:srgbClr val="ACE0ED"/>
      </a:accent2>
      <a:accent3>
        <a:srgbClr val="DBD9D8"/>
      </a:accent3>
      <a:accent4>
        <a:srgbClr val="91C349"/>
      </a:accent4>
      <a:accent5>
        <a:srgbClr val="918A86"/>
      </a:accent5>
      <a:accent6>
        <a:srgbClr val="704D8C"/>
      </a:accent6>
      <a:hlink>
        <a:srgbClr val="00ADD3"/>
      </a:hlink>
      <a:folHlink>
        <a:srgbClr val="ACE0ED"/>
      </a:folHlink>
    </a:clrScheme>
    <a:fontScheme name="EDB Ergo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accent5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Start and end">
  <a:themeElements>
    <a:clrScheme name="EDB PowerPoint PPT NY">
      <a:dk1>
        <a:srgbClr val="063954"/>
      </a:dk1>
      <a:lt1>
        <a:srgbClr val="FFFFFF"/>
      </a:lt1>
      <a:dk2>
        <a:srgbClr val="063954"/>
      </a:dk2>
      <a:lt2>
        <a:srgbClr val="EEEDEB"/>
      </a:lt2>
      <a:accent1>
        <a:srgbClr val="00ADD3"/>
      </a:accent1>
      <a:accent2>
        <a:srgbClr val="ACE0ED"/>
      </a:accent2>
      <a:accent3>
        <a:srgbClr val="DBD9D8"/>
      </a:accent3>
      <a:accent4>
        <a:srgbClr val="91C349"/>
      </a:accent4>
      <a:accent5>
        <a:srgbClr val="918A86"/>
      </a:accent5>
      <a:accent6>
        <a:srgbClr val="704D8C"/>
      </a:accent6>
      <a:hlink>
        <a:srgbClr val="00ADD3"/>
      </a:hlink>
      <a:folHlink>
        <a:srgbClr val="ACE0ED"/>
      </a:folHlink>
    </a:clrScheme>
    <a:fontScheme name="EDB Ergo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accent5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VRY_Template</Template>
  <TotalTime>6782</TotalTime>
  <Words>748</Words>
  <Application>Microsoft Macintosh PowerPoint</Application>
  <PresentationFormat>On-screen Show (4:3)</PresentationFormat>
  <Paragraphs>228</Paragraphs>
  <Slides>27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3" baseType="lpstr">
      <vt:lpstr>EVRY_template_normal</vt:lpstr>
      <vt:lpstr>Graphics</vt:lpstr>
      <vt:lpstr>Chapter</vt:lpstr>
      <vt:lpstr>Reporting</vt:lpstr>
      <vt:lpstr>Start and end</vt:lpstr>
      <vt:lpstr>think-cell Slide</vt:lpstr>
      <vt:lpstr>Halfway to Ph.D.? What will happen next?</vt:lpstr>
      <vt:lpstr>PowerPoint Presentation</vt:lpstr>
      <vt:lpstr>Timeline</vt:lpstr>
      <vt:lpstr>Trend of articles</vt:lpstr>
      <vt:lpstr>PowerPoint Presentation</vt:lpstr>
      <vt:lpstr>Monograph vs Compilation Thesis?</vt:lpstr>
      <vt:lpstr>Comparison of thesis submission in Ukraine and Norway</vt:lpstr>
      <vt:lpstr>PowerPoint Presentation</vt:lpstr>
      <vt:lpstr>PowerPoint Presentation</vt:lpstr>
      <vt:lpstr>PowerPoint Presentation</vt:lpstr>
      <vt:lpstr>Timeline</vt:lpstr>
      <vt:lpstr>Possibilities after graduation</vt:lpstr>
      <vt:lpstr>A Life-Cycle of Job Hunting</vt:lpstr>
      <vt:lpstr>PowerPoint Presentation</vt:lpstr>
      <vt:lpstr>Timeline</vt:lpstr>
      <vt:lpstr>EVRY – the most local IT company in the Nordics</vt:lpstr>
      <vt:lpstr>…with strong positions in the Nordic market</vt:lpstr>
      <vt:lpstr>Geographical location</vt:lpstr>
      <vt:lpstr>Inside EVRY</vt:lpstr>
      <vt:lpstr>What is non-functional testing (NFT)?</vt:lpstr>
      <vt:lpstr>Security: Application layer</vt:lpstr>
      <vt:lpstr>Security: Network layer</vt:lpstr>
      <vt:lpstr>Security: Wireless</vt:lpstr>
      <vt:lpstr>On top of that</vt:lpstr>
      <vt:lpstr>A part of everyday life for millions of Nordic citizens</vt:lpstr>
      <vt:lpstr>PowerPoint Presentation</vt:lpstr>
      <vt:lpstr>PowerPoint Presentation</vt:lpstr>
    </vt:vector>
  </TitlesOfParts>
  <Company>EVR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eatures of Wi-Fi analysis using Linux</dc:title>
  <dc:creator>Oleksandr Kazymyrov</dc:creator>
  <cp:lastModifiedBy>Oleksandr Kazymyrov</cp:lastModifiedBy>
  <cp:revision>405</cp:revision>
  <dcterms:created xsi:type="dcterms:W3CDTF">2015-06-12T06:23:21Z</dcterms:created>
  <dcterms:modified xsi:type="dcterms:W3CDTF">2015-10-19T07:40:03Z</dcterms:modified>
</cp:coreProperties>
</file>